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50"/>
  </p:notesMasterIdLst>
  <p:sldIdLst>
    <p:sldId id="2147475171" r:id="rId5"/>
    <p:sldId id="2147475172" r:id="rId6"/>
    <p:sldId id="2147475173" r:id="rId7"/>
    <p:sldId id="2147475174" r:id="rId8"/>
    <p:sldId id="2147475175" r:id="rId9"/>
    <p:sldId id="2147475176" r:id="rId10"/>
    <p:sldId id="2147475177" r:id="rId11"/>
    <p:sldId id="2147475178" r:id="rId12"/>
    <p:sldId id="2147475179" r:id="rId13"/>
    <p:sldId id="2147475180" r:id="rId14"/>
    <p:sldId id="2147475181" r:id="rId15"/>
    <p:sldId id="2147475182" r:id="rId16"/>
    <p:sldId id="2147475183" r:id="rId17"/>
    <p:sldId id="2147475184" r:id="rId18"/>
    <p:sldId id="2147475185" r:id="rId19"/>
    <p:sldId id="2147475186" r:id="rId20"/>
    <p:sldId id="2147475187" r:id="rId21"/>
    <p:sldId id="2147475188" r:id="rId22"/>
    <p:sldId id="2147475189" r:id="rId23"/>
    <p:sldId id="2147475190" r:id="rId24"/>
    <p:sldId id="2147475191" r:id="rId25"/>
    <p:sldId id="2147475192" r:id="rId26"/>
    <p:sldId id="2147475193" r:id="rId27"/>
    <p:sldId id="2147475194" r:id="rId28"/>
    <p:sldId id="2147475195" r:id="rId29"/>
    <p:sldId id="2147475196" r:id="rId30"/>
    <p:sldId id="2147475197" r:id="rId31"/>
    <p:sldId id="2147475198" r:id="rId32"/>
    <p:sldId id="2147475199" r:id="rId33"/>
    <p:sldId id="2147475200" r:id="rId34"/>
    <p:sldId id="2147475201" r:id="rId35"/>
    <p:sldId id="2147475202" r:id="rId36"/>
    <p:sldId id="2147475203" r:id="rId37"/>
    <p:sldId id="2147475204" r:id="rId38"/>
    <p:sldId id="2147475205" r:id="rId39"/>
    <p:sldId id="2147475206" r:id="rId40"/>
    <p:sldId id="2147475207" r:id="rId41"/>
    <p:sldId id="2147475208" r:id="rId42"/>
    <p:sldId id="2147475209" r:id="rId43"/>
    <p:sldId id="2147475210" r:id="rId44"/>
    <p:sldId id="2147475211" r:id="rId45"/>
    <p:sldId id="2147475212" r:id="rId46"/>
    <p:sldId id="2147475213" r:id="rId47"/>
    <p:sldId id="2147475214" r:id="rId48"/>
    <p:sldId id="2147475215" r:id="rId4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Size Bracket" id="{904D4362-DB65-4DFA-B9E2-355EDD0498B1}">
          <p14:sldIdLst>
            <p14:sldId id="2147475171"/>
            <p14:sldId id="2147475172"/>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snapToGrid="0">
      <p:cViewPr varScale="1">
        <p:scale>
          <a:sx n="103" d="100"/>
          <a:sy n="103" d="100"/>
        </p:scale>
        <p:origin x="782" y="77"/>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2000000000000002E-3</c:v>
                </c:pt>
                <c:pt idx="1">
                  <c:v>0.60570000000000002</c:v>
                </c:pt>
                <c:pt idx="2">
                  <c:v>8.3199999999999996E-2</c:v>
                </c:pt>
                <c:pt idx="3">
                  <c:v>0.12989999999999999</c:v>
                </c:pt>
                <c:pt idx="4">
                  <c:v>7.5800000000000006E-2</c:v>
                </c:pt>
                <c:pt idx="5">
                  <c:v>9.6699999999999994E-2</c:v>
                </c:pt>
                <c:pt idx="6">
                  <c:v>5.4999999999999997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7030000000000003</c:v>
                </c:pt>
                <c:pt idx="2">
                  <c:v>3.6400000000000002E-2</c:v>
                </c:pt>
                <c:pt idx="3">
                  <c:v>0.20730000000000001</c:v>
                </c:pt>
                <c:pt idx="4">
                  <c:v>4.1200000000000001E-2</c:v>
                </c:pt>
                <c:pt idx="5">
                  <c:v>0.1448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2.019636977022126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3284339380943405E-2</c:v>
                </c:pt>
                <c:pt idx="2">
                  <c:v>4.9937142870147819E-2</c:v>
                </c:pt>
                <c:pt idx="3">
                  <c:v>3.2271146328996865E-2</c:v>
                </c:pt>
                <c:pt idx="4">
                  <c:v>0.11998009164529508</c:v>
                </c:pt>
                <c:pt idx="5">
                  <c:v>2.8803939355485066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623293807148627E-3</c:v>
                </c:pt>
                <c:pt idx="1">
                  <c:v>0.13072108808769728</c:v>
                </c:pt>
                <c:pt idx="2">
                  <c:v>7.1099060052405988E-2</c:v>
                </c:pt>
                <c:pt idx="3">
                  <c:v>0.27643960515949395</c:v>
                </c:pt>
                <c:pt idx="4">
                  <c:v>0.16529054213716712</c:v>
                </c:pt>
                <c:pt idx="5">
                  <c:v>6.2960865114717671E-2</c:v>
                </c:pt>
                <c:pt idx="6">
                  <c:v>0.18383903075172306</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4.8362083002782293E-4</c:v>
                </c:pt>
                <c:pt idx="6">
                  <c:v>7.096876989533177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0">
                  <c:v>1.6406490200896696E-3</c:v>
                </c:pt>
                <c:pt idx="1">
                  <c:v>8.9970293947620947E-3</c:v>
                </c:pt>
                <c:pt idx="2">
                  <c:v>5.9580533412977407E-2</c:v>
                </c:pt>
                <c:pt idx="3">
                  <c:v>2.0279902063345786E-2</c:v>
                </c:pt>
                <c:pt idx="4">
                  <c:v>2.9645646396596295E-2</c:v>
                </c:pt>
                <c:pt idx="5">
                  <c:v>1.0581592925549905E-2</c:v>
                </c:pt>
                <c:pt idx="6">
                  <c:v>4.1133577300344319E-4</c:v>
                </c:pt>
                <c:pt idx="7">
                  <c:v>3.0421723422574699E-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2.6491884130652482E-2</c:v>
                </c:pt>
                <c:pt idx="2">
                  <c:v>1.1780940166630427E-3</c:v>
                </c:pt>
                <c:pt idx="3">
                  <c:v>3.6588281597770209E-2</c:v>
                </c:pt>
                <c:pt idx="4">
                  <c:v>7.6997068638785304E-2</c:v>
                </c:pt>
                <c:pt idx="5">
                  <c:v>3.2140786868523931E-2</c:v>
                </c:pt>
                <c:pt idx="6">
                  <c:v>0.10836727872892564</c:v>
                </c:pt>
                <c:pt idx="7">
                  <c:v>8.540138977080197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0510880423741025E-6</c:v>
                </c:pt>
                <c:pt idx="5">
                  <c:v>2.0440911162562702E-4</c:v>
                </c:pt>
                <c:pt idx="6">
                  <c:v>3.13646201092882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234695694610064E-2</c:v>
                </c:pt>
                <c:pt idx="1">
                  <c:v>6.4050867953944088E-2</c:v>
                </c:pt>
                <c:pt idx="2">
                  <c:v>4.0332572808938108E-2</c:v>
                </c:pt>
                <c:pt idx="3">
                  <c:v>6.2286263589330183E-2</c:v>
                </c:pt>
                <c:pt idx="4">
                  <c:v>9.5028398655161286E-2</c:v>
                </c:pt>
                <c:pt idx="5">
                  <c:v>4.4773801587133816E-2</c:v>
                </c:pt>
                <c:pt idx="6">
                  <c:v>0.14008304806708963</c:v>
                </c:pt>
                <c:pt idx="7">
                  <c:v>8.87471926507836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5515964703054846E-6</c:v>
                </c:pt>
                <c:pt idx="5">
                  <c:v>2.2249921231024352E-4</c:v>
                </c:pt>
                <c:pt idx="6">
                  <c:v>3.406169395819451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064181797789948E-2</c:v>
                </c:pt>
                <c:pt idx="1">
                  <c:v>6.7849408152937427E-2</c:v>
                </c:pt>
                <c:pt idx="2">
                  <c:v>4.2205978031097213E-2</c:v>
                </c:pt>
                <c:pt idx="3">
                  <c:v>6.553960239749787E-2</c:v>
                </c:pt>
                <c:pt idx="4">
                  <c:v>8.4919987014322865E-2</c:v>
                </c:pt>
                <c:pt idx="5">
                  <c:v>4.297045765446697E-2</c:v>
                </c:pt>
                <c:pt idx="6">
                  <c:v>0.13682563146853269</c:v>
                </c:pt>
                <c:pt idx="7">
                  <c:v>9.52455946804066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9.9055420648194184E-6</c:v>
                </c:pt>
                <c:pt idx="5">
                  <c:v>1.9719227475071418E-7</c:v>
                </c:pt>
                <c:pt idx="6">
                  <c:v>2.545003435608615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3.6099420626731681E-2</c:v>
                </c:pt>
                <c:pt idx="2">
                  <c:v>2.1280657310724264E-2</c:v>
                </c:pt>
                <c:pt idx="3">
                  <c:v>8.9085285383259716E-2</c:v>
                </c:pt>
                <c:pt idx="4">
                  <c:v>7.3996693643681444E-2</c:v>
                </c:pt>
                <c:pt idx="5">
                  <c:v>2.9880277810547196E-2</c:v>
                </c:pt>
                <c:pt idx="6">
                  <c:v>0.14878096824050777</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2.053443141807104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6182537091837779E-2</c:v>
                </c:pt>
                <c:pt idx="2">
                  <c:v>5.0773027387992394E-2</c:v>
                </c:pt>
                <c:pt idx="3">
                  <c:v>2.659621791440234E-2</c:v>
                </c:pt>
                <c:pt idx="4">
                  <c:v>0.12048265448957994</c:v>
                </c:pt>
                <c:pt idx="5">
                  <c:v>2.9286080815255626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4883281441754187E-3</c:v>
                </c:pt>
                <c:pt idx="1">
                  <c:v>0.12114250160819365</c:v>
                </c:pt>
                <c:pt idx="2">
                  <c:v>6.8898138443432719E-2</c:v>
                </c:pt>
                <c:pt idx="3">
                  <c:v>0.28058797162019983</c:v>
                </c:pt>
                <c:pt idx="4">
                  <c:v>0.16757090878952116</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9782484273553414E-2</c:v>
                </c:pt>
                <c:pt idx="2">
                  <c:v>1.9000361706113351E-3</c:v>
                </c:pt>
                <c:pt idx="3">
                  <c:v>1.0826972869844109E-2</c:v>
                </c:pt>
                <c:pt idx="4">
                  <c:v>2.1517942985416626E-3</c:v>
                </c:pt>
                <c:pt idx="5">
                  <c:v>7.559806877658498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5018551073899879E-3</c:v>
                </c:pt>
                <c:pt idx="2">
                  <c:v>4.803710669953648E-2</c:v>
                </c:pt>
                <c:pt idx="3">
                  <c:v>2.1444173459152754E-2</c:v>
                </c:pt>
                <c:pt idx="4">
                  <c:v>0.11782829734675342</c:v>
                </c:pt>
                <c:pt idx="5">
                  <c:v>2.144609617552878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5.0720174265126176E-4</c:v>
                </c:pt>
                <c:pt idx="6">
                  <c:v>7.4429142687377318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9.4357163802176007E-3</c:v>
                </c:pt>
                <c:pt idx="2">
                  <c:v>5.766459814853258E-2</c:v>
                </c:pt>
                <c:pt idx="3">
                  <c:v>2.1268731677116025E-2</c:v>
                </c:pt>
                <c:pt idx="4">
                  <c:v>3.10911412014898E-2</c:v>
                </c:pt>
                <c:pt idx="5">
                  <c:v>1.1097541790241767E-2</c:v>
                </c:pt>
                <c:pt idx="6">
                  <c:v>4.3139213186939784E-4</c:v>
                </c:pt>
                <c:pt idx="7">
                  <c:v>3.1905059038703734E-9</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2.6061195700129158E-2</c:v>
                </c:pt>
                <c:pt idx="2">
                  <c:v>3.8891756487235236E-4</c:v>
                </c:pt>
                <c:pt idx="3">
                  <c:v>3.7306287540704856E-2</c:v>
                </c:pt>
                <c:pt idx="4">
                  <c:v>7.4972604529626063E-2</c:v>
                </c:pt>
                <c:pt idx="5">
                  <c:v>3.3111050489230132E-2</c:v>
                </c:pt>
                <c:pt idx="6">
                  <c:v>0.10709268771372114</c:v>
                </c:pt>
                <c:pt idx="7">
                  <c:v>8.735131119429885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3.3013945849580194E-5</c:v>
                </c:pt>
                <c:pt idx="5">
                  <c:v>1.3360193458828323E-3</c:v>
                </c:pt>
                <c:pt idx="6">
                  <c:v>2.04999370669058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683568193976326</c:v>
                </c:pt>
                <c:pt idx="4">
                  <c:v>0.16125578762274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1771144932042348</c:v>
                </c:pt>
                <c:pt idx="2">
                  <c:v>1.4311842446704696E-2</c:v>
                </c:pt>
                <c:pt idx="3">
                  <c:v>8.1787773351441995E-2</c:v>
                </c:pt>
                <c:pt idx="4">
                  <c:v>2.0057030872024928E-2</c:v>
                </c:pt>
                <c:pt idx="5">
                  <c:v>4.3164331101468945E-2</c:v>
                </c:pt>
                <c:pt idx="6">
                  <c:v>3.555367591773142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3.8445970042755961E-2</c:v>
                </c:pt>
                <c:pt idx="2">
                  <c:v>1.9462042950576324E-7</c:v>
                </c:pt>
                <c:pt idx="3">
                  <c:v>9.6370896715808028E-3</c:v>
                </c:pt>
                <c:pt idx="4">
                  <c:v>4.7035976852258646E-2</c:v>
                </c:pt>
                <c:pt idx="5">
                  <c:v>2.64579853491636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3939480335540989E-6</c:v>
                </c:pt>
                <c:pt idx="2">
                  <c:v>4.7696809688934223E-4</c:v>
                </c:pt>
                <c:pt idx="3">
                  <c:v>3.1240837297209488E-3</c:v>
                </c:pt>
                <c:pt idx="4">
                  <c:v>7.2355550791809318E-5</c:v>
                </c:pt>
                <c:pt idx="5">
                  <c:v>7.2319288181867212E-4</c:v>
                </c:pt>
                <c:pt idx="6">
                  <c:v>4.195502129915168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3.5746307837150457E-5</c:v>
                </c:pt>
                <c:pt idx="5">
                  <c:v>1.4326555215796886E-3</c:v>
                </c:pt>
                <c:pt idx="6">
                  <c:v>2.19320659236860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7095884449859945</c:v>
                </c:pt>
                <c:pt idx="4">
                  <c:v>0.136571745248498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2447638333752499</c:v>
                </c:pt>
                <c:pt idx="2">
                  <c:v>1.5353466182841597E-2</c:v>
                </c:pt>
                <c:pt idx="3">
                  <c:v>8.2565858734893527E-2</c:v>
                </c:pt>
                <c:pt idx="4">
                  <c:v>2.1701593936910228E-2</c:v>
                </c:pt>
                <c:pt idx="5">
                  <c:v>4.6190057732142749E-2</c:v>
                </c:pt>
                <c:pt idx="6">
                  <c:v>3.850073002132423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3.8428832057435872E-2</c:v>
                </c:pt>
                <c:pt idx="2">
                  <c:v>2.107810713106846E-7</c:v>
                </c:pt>
                <c:pt idx="3">
                  <c:v>1.0044033318787277E-2</c:v>
                </c:pt>
                <c:pt idx="4">
                  <c:v>4.8764782747607503E-2</c:v>
                </c:pt>
                <c:pt idx="5">
                  <c:v>2.82972471275070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5096969039175529E-6</c:v>
                </c:pt>
                <c:pt idx="2">
                  <c:v>5.1657216090156472E-4</c:v>
                </c:pt>
                <c:pt idx="3">
                  <c:v>3.3830037666793631E-3</c:v>
                </c:pt>
                <c:pt idx="4">
                  <c:v>2.5419836890544955E-6</c:v>
                </c:pt>
                <c:pt idx="5">
                  <c:v>7.8315977277627566E-4</c:v>
                </c:pt>
                <c:pt idx="6">
                  <c:v>4.470918739166145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1.1754644770097169E-4</c:v>
                </c:pt>
                <c:pt idx="5">
                  <c:v>2.3400285677796502E-6</c:v>
                </c:pt>
                <c:pt idx="6">
                  <c:v>3.020088262560067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8108439743713437</c:v>
                </c:pt>
                <c:pt idx="4">
                  <c:v>0.166386279901847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9.7905610451309282E-3</c:v>
                </c:pt>
                <c:pt idx="6">
                  <c:v>0.1439923249906555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0.13359295960166387</c:v>
                </c:pt>
                <c:pt idx="2">
                  <c:v>1.7303581171426358E-2</c:v>
                </c:pt>
                <c:pt idx="3">
                  <c:v>5.057955161711436E-2</c:v>
                </c:pt>
                <c:pt idx="4">
                  <c:v>2.3688589045592869E-2</c:v>
                </c:pt>
                <c:pt idx="5">
                  <c:v>1.069909046584803E-2</c:v>
                </c:pt>
                <c:pt idx="6">
                  <c:v>1.905926609903221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8769243787718816E-2</c:v>
                </c:pt>
                <c:pt idx="2">
                  <c:v>6.9312238589928882E-7</c:v>
                </c:pt>
                <c:pt idx="3">
                  <c:v>2.2659651825786852E-3</c:v>
                </c:pt>
                <c:pt idx="4">
                  <c:v>7.14045084874258E-2</c:v>
                </c:pt>
                <c:pt idx="5">
                  <c:v>4.539494285348107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8169999999999999</c:v>
                </c:pt>
                <c:pt idx="2">
                  <c:v>6.3200000000000006E-2</c:v>
                </c:pt>
                <c:pt idx="3">
                  <c:v>0.13930000000000001</c:v>
                </c:pt>
                <c:pt idx="4">
                  <c:v>8.8400000000000006E-2</c:v>
                </c:pt>
                <c:pt idx="5">
                  <c:v>0.1207</c:v>
                </c:pt>
                <c:pt idx="6">
                  <c:v>6.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1.0492005120636655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3832445919390743</c:v>
                </c:pt>
                <c:pt idx="4">
                  <c:v>0.650691856720020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1.4487406332303226E-3</c:v>
                </c:pt>
                <c:pt idx="4">
                  <c:v>3.9629895385719293E-3</c:v>
                </c:pt>
                <c:pt idx="5">
                  <c:v>3.69456380818812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8010494043590643E-2</c:v>
                </c:pt>
                <c:pt idx="3">
                  <c:v>2.4490178651511322E-2</c:v>
                </c:pt>
                <c:pt idx="5">
                  <c:v>2.067069740135843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6">
                  <c:v>4.405745223864775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5">
                  <c:v>6.3799999999999996E-2</c:v>
                </c:pt>
                <c:pt idx="6">
                  <c:v>0.936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888269060283164</c:v>
                </c:pt>
                <c:pt idx="2">
                  <c:v>1.5271422562944496E-2</c:v>
                </c:pt>
                <c:pt idx="3">
                  <c:v>0.52230431477226913</c:v>
                </c:pt>
                <c:pt idx="4">
                  <c:v>0.18109861842202674</c:v>
                </c:pt>
                <c:pt idx="5">
                  <c:v>8.6056189810665068E-2</c:v>
                </c:pt>
                <c:pt idx="6">
                  <c:v>3.63867638292629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5">
                  <c:v>2.0672760201669613E-3</c:v>
                </c:pt>
                <c:pt idx="6">
                  <c:v>3.033616979999102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41146213929539849</c:v>
                </c:pt>
                <c:pt idx="4">
                  <c:v>0.121114281959693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2042348556077553</c:v>
                </c:pt>
                <c:pt idx="2">
                  <c:v>1.4525673820119482E-2</c:v>
                </c:pt>
                <c:pt idx="3">
                  <c:v>9.6751225698779753E-2</c:v>
                </c:pt>
                <c:pt idx="4">
                  <c:v>2.0929690823194982E-2</c:v>
                </c:pt>
                <c:pt idx="5">
                  <c:v>6.1984977336338926E-2</c:v>
                </c:pt>
                <c:pt idx="6">
                  <c:v>4.72127995096177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3.8458523631951333E-2</c:v>
                </c:pt>
                <c:pt idx="3">
                  <c:v>1.3505202369789337E-2</c:v>
                </c:pt>
                <c:pt idx="4">
                  <c:v>3.9053519491903797E-2</c:v>
                </c:pt>
                <c:pt idx="5">
                  <c:v>2.0873282030209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6.8141010476516506E-7</c:v>
                </c:pt>
                <c:pt idx="2">
                  <c:v>7.4574874282501489E-4</c:v>
                </c:pt>
                <c:pt idx="3">
                  <c:v>5.8574740830153035E-4</c:v>
                </c:pt>
                <c:pt idx="4">
                  <c:v>1.1261472342111316E-6</c:v>
                </c:pt>
                <c:pt idx="5">
                  <c:v>1.1306544239499028E-3</c:v>
                </c:pt>
                <c:pt idx="6">
                  <c:v>1.329314078310140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623293807148627E-3</c:v>
                </c:pt>
                <c:pt idx="1">
                  <c:v>0.13072108808769728</c:v>
                </c:pt>
                <c:pt idx="2">
                  <c:v>7.1099060052405988E-2</c:v>
                </c:pt>
                <c:pt idx="3">
                  <c:v>0.27643960515949395</c:v>
                </c:pt>
                <c:pt idx="4">
                  <c:v>0.16529054213716712</c:v>
                </c:pt>
                <c:pt idx="5">
                  <c:v>6.2960865114717671E-2</c:v>
                </c:pt>
                <c:pt idx="6">
                  <c:v>0.18383903075172306</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0">
                  <c:v>1.6406490200896696E-3</c:v>
                </c:pt>
                <c:pt idx="1">
                  <c:v>8.9970293947620947E-3</c:v>
                </c:pt>
                <c:pt idx="2">
                  <c:v>5.9580533412977407E-2</c:v>
                </c:pt>
                <c:pt idx="3">
                  <c:v>2.0279902063345786E-2</c:v>
                </c:pt>
                <c:pt idx="4">
                  <c:v>2.9645646396596295E-2</c:v>
                </c:pt>
                <c:pt idx="5">
                  <c:v>1.0581592925549905E-2</c:v>
                </c:pt>
                <c:pt idx="6">
                  <c:v>4.1133577300344319E-4</c:v>
                </c:pt>
                <c:pt idx="7">
                  <c:v>3.0421723422574699E-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0943838380335276E-2</c:v>
                </c:pt>
                <c:pt idx="3">
                  <c:v>5.0819616748649411E-3</c:v>
                </c:pt>
                <c:pt idx="5">
                  <c:v>2.0004412670982445E-3</c:v>
                </c:pt>
                <c:pt idx="6">
                  <c:v>4.4900179708725688E-2</c:v>
                </c:pt>
                <c:pt idx="7">
                  <c:v>2.86476015247063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1.5548045750317204E-2</c:v>
                </c:pt>
                <c:pt idx="2">
                  <c:v>1.1780940166630427E-3</c:v>
                </c:pt>
                <c:pt idx="3">
                  <c:v>3.1506319922905271E-2</c:v>
                </c:pt>
                <c:pt idx="4">
                  <c:v>7.6997068638785304E-2</c:v>
                </c:pt>
                <c:pt idx="5">
                  <c:v>3.0623966431453507E-2</c:v>
                </c:pt>
                <c:pt idx="6">
                  <c:v>7.0563976009733131E-2</c:v>
                </c:pt>
                <c:pt idx="7">
                  <c:v>8.25366296183313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6789999999999996</c:v>
                </c:pt>
                <c:pt idx="2">
                  <c:v>9.2200000000000004E-2</c:v>
                </c:pt>
                <c:pt idx="3">
                  <c:v>0.1424</c:v>
                </c:pt>
                <c:pt idx="4">
                  <c:v>8.4099999999999994E-2</c:v>
                </c:pt>
                <c:pt idx="5">
                  <c:v>0.1072</c:v>
                </c:pt>
                <c:pt idx="6">
                  <c:v>6.1000000000000004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0444222196966468E-2</c:v>
                </c:pt>
                <c:pt idx="2">
                  <c:v>8.1915846630039261E-3</c:v>
                </c:pt>
                <c:pt idx="3">
                  <c:v>1.2646149311276739E-2</c:v>
                </c:pt>
                <c:pt idx="4">
                  <c:v>7.4662897002359232E-3</c:v>
                </c:pt>
                <c:pt idx="5">
                  <c:v>9.5253169909785568E-3</c:v>
                </c:pt>
                <c:pt idx="6">
                  <c:v>5.4396632292525826E-4</c:v>
                </c:pt>
                <c:pt idx="7">
                  <c:v>3.6159550010606763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234695694610064E-2</c:v>
                </c:pt>
                <c:pt idx="1">
                  <c:v>1.3606645756977615E-2</c:v>
                </c:pt>
                <c:pt idx="2">
                  <c:v>3.2140988145934184E-2</c:v>
                </c:pt>
                <c:pt idx="3">
                  <c:v>4.9645165366095818E-2</c:v>
                </c:pt>
                <c:pt idx="4">
                  <c:v>8.7562108954925361E-2</c:v>
                </c:pt>
                <c:pt idx="5">
                  <c:v>3.5452893707780882E-2</c:v>
                </c:pt>
                <c:pt idx="6">
                  <c:v>0.14267554375509317</c:v>
                </c:pt>
                <c:pt idx="7">
                  <c:v>8.8743576695782547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6910000000000005</c:v>
                </c:pt>
                <c:pt idx="2">
                  <c:v>9.1700000000000004E-2</c:v>
                </c:pt>
                <c:pt idx="3">
                  <c:v>0.1371</c:v>
                </c:pt>
                <c:pt idx="4">
                  <c:v>8.6499999999999994E-2</c:v>
                </c:pt>
                <c:pt idx="5">
                  <c:v>0.10929999999999999</c:v>
                </c:pt>
                <c:pt idx="6">
                  <c:v>6.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3853260720827856E-2</c:v>
                </c:pt>
                <c:pt idx="2">
                  <c:v>8.6781617607599153E-3</c:v>
                </c:pt>
                <c:pt idx="3">
                  <c:v>1.2968841320668506E-2</c:v>
                </c:pt>
                <c:pt idx="4">
                  <c:v>8.1870796575066757E-3</c:v>
                </c:pt>
                <c:pt idx="5">
                  <c:v>1.0339617319266994E-2</c:v>
                </c:pt>
                <c:pt idx="6">
                  <c:v>5.9793732506390927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064181797789948E-2</c:v>
                </c:pt>
                <c:pt idx="1">
                  <c:v>1.3996147432109571E-2</c:v>
                </c:pt>
                <c:pt idx="2">
                  <c:v>3.3527816270337296E-2</c:v>
                </c:pt>
                <c:pt idx="3">
                  <c:v>5.2576312673299666E-2</c:v>
                </c:pt>
                <c:pt idx="4">
                  <c:v>7.6732907356816191E-2</c:v>
                </c:pt>
                <c:pt idx="5">
                  <c:v>3.285333954751022E-2</c:v>
                </c:pt>
                <c:pt idx="6">
                  <c:v>0.13963386353928822</c:v>
                </c:pt>
                <c:pt idx="7">
                  <c:v>9.524559468040665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63380000000000003</c:v>
                </c:pt>
                <c:pt idx="2">
                  <c:v>0.15379999999999999</c:v>
                </c:pt>
                <c:pt idx="3">
                  <c:v>9.9500000000000005E-2</c:v>
                </c:pt>
                <c:pt idx="4">
                  <c:v>6.0100000000000001E-2</c:v>
                </c:pt>
                <c:pt idx="5">
                  <c:v>4.9299999999999997E-2</c:v>
                </c:pt>
                <c:pt idx="6">
                  <c:v>3.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8808003131640968E-2</c:v>
                </c:pt>
                <c:pt idx="2">
                  <c:v>6.9915828971751394E-3</c:v>
                </c:pt>
                <c:pt idx="3">
                  <c:v>4.5216772688848779E-3</c:v>
                </c:pt>
                <c:pt idx="4">
                  <c:v>2.7321099495320172E-3</c:v>
                </c:pt>
                <c:pt idx="5">
                  <c:v>2.2396913854435081E-3</c:v>
                </c:pt>
                <c:pt idx="6">
                  <c:v>1.606108612901873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7.2914174950907155E-3</c:v>
                </c:pt>
                <c:pt idx="2">
                  <c:v>1.4289074413549126E-2</c:v>
                </c:pt>
                <c:pt idx="3">
                  <c:v>8.4573513656439669E-2</c:v>
                </c:pt>
                <c:pt idx="4">
                  <c:v>7.1264583694149439E-2</c:v>
                </c:pt>
                <c:pt idx="5">
                  <c:v>2.7640783617378439E-2</c:v>
                </c:pt>
                <c:pt idx="6">
                  <c:v>0.14887485772277845</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7679999999999998</c:v>
                </c:pt>
                <c:pt idx="2">
                  <c:v>4.9299999999999997E-2</c:v>
                </c:pt>
                <c:pt idx="3">
                  <c:v>0.1222</c:v>
                </c:pt>
                <c:pt idx="4">
                  <c:v>5.5800000000000002E-2</c:v>
                </c:pt>
                <c:pt idx="5">
                  <c:v>0.1960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2622065365639349E-2</c:v>
                </c:pt>
                <c:pt idx="2">
                  <c:v>1.9318403693915609E-3</c:v>
                </c:pt>
                <c:pt idx="3">
                  <c:v>4.7930961542006134E-3</c:v>
                </c:pt>
                <c:pt idx="4">
                  <c:v>2.187812609489373E-3</c:v>
                </c:pt>
                <c:pt idx="5">
                  <c:v>7.686348469021893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5604717261984321E-3</c:v>
                </c:pt>
                <c:pt idx="2">
                  <c:v>4.8841187018600837E-2</c:v>
                </c:pt>
                <c:pt idx="3">
                  <c:v>2.1803121760201726E-2</c:v>
                </c:pt>
                <c:pt idx="4">
                  <c:v>0.11829484188009057</c:v>
                </c:pt>
                <c:pt idx="5">
                  <c:v>2.1805076660414442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4449999999999998</c:v>
                </c:pt>
                <c:pt idx="2">
                  <c:v>6.8900000000000003E-2</c:v>
                </c:pt>
                <c:pt idx="3">
                  <c:v>0.15090000000000001</c:v>
                </c:pt>
                <c:pt idx="4">
                  <c:v>9.6500000000000002E-2</c:v>
                </c:pt>
                <c:pt idx="5">
                  <c:v>0.13170000000000001</c:v>
                </c:pt>
                <c:pt idx="6">
                  <c:v>7.400000000000000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4883281441754187E-3</c:v>
                </c:pt>
                <c:pt idx="1">
                  <c:v>0.12114250160819365</c:v>
                </c:pt>
                <c:pt idx="2">
                  <c:v>6.8898138443432719E-2</c:v>
                </c:pt>
                <c:pt idx="3">
                  <c:v>0.28058797162019983</c:v>
                </c:pt>
                <c:pt idx="4">
                  <c:v>0.16757090878952116</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2.9923140178641106E-4</c:v>
                </c:pt>
                <c:pt idx="1">
                  <c:v>5.7301451869942767E-2</c:v>
                </c:pt>
                <c:pt idx="2">
                  <c:v>7.8708074862622428E-3</c:v>
                </c:pt>
                <c:pt idx="3">
                  <c:v>1.2287473677491291E-2</c:v>
                </c:pt>
                <c:pt idx="4">
                  <c:v>7.1739953034813345E-3</c:v>
                </c:pt>
                <c:pt idx="5">
                  <c:v>9.1523117157312137E-3</c:v>
                </c:pt>
                <c:pt idx="6">
                  <c:v>5.2266495225169541E-4</c:v>
                </c:pt>
                <c:pt idx="7">
                  <c:v>3.474356533342482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490167052473688E-2</c:v>
                </c:pt>
                <c:pt idx="1">
                  <c:v>1.4769376892498333E-2</c:v>
                </c:pt>
                <c:pt idx="2">
                  <c:v>3.6825198124453826E-2</c:v>
                </c:pt>
                <c:pt idx="3">
                  <c:v>4.8920678145869735E-2</c:v>
                </c:pt>
                <c:pt idx="4">
                  <c:v>8.7196105650689582E-2</c:v>
                </c:pt>
                <c:pt idx="5">
                  <c:v>3.4400388994708944E-2</c:v>
                </c:pt>
                <c:pt idx="6">
                  <c:v>0.14272702856129194</c:v>
                </c:pt>
                <c:pt idx="7">
                  <c:v>8.7051045641112268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9.4357163802176007E-3</c:v>
                </c:pt>
                <c:pt idx="2">
                  <c:v>5.766459814853258E-2</c:v>
                </c:pt>
                <c:pt idx="3">
                  <c:v>2.1268731677116025E-2</c:v>
                </c:pt>
                <c:pt idx="4">
                  <c:v>3.10911412014898E-2</c:v>
                </c:pt>
                <c:pt idx="5">
                  <c:v>1.1097541790241767E-2</c:v>
                </c:pt>
                <c:pt idx="6">
                  <c:v>4.3139213186939784E-4</c:v>
                </c:pt>
                <c:pt idx="7">
                  <c:v>3.1905059038703734E-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1477450004542769E-2</c:v>
                </c:pt>
                <c:pt idx="3">
                  <c:v>5.3297535125402555E-3</c:v>
                </c:pt>
                <c:pt idx="5">
                  <c:v>2.0979809672080417E-3</c:v>
                </c:pt>
                <c:pt idx="6">
                  <c:v>4.708947170929409E-2</c:v>
                </c:pt>
                <c:pt idx="7">
                  <c:v>3.004443256770822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1.4583745695586389E-2</c:v>
                </c:pt>
                <c:pt idx="2">
                  <c:v>3.8891756487235236E-4</c:v>
                </c:pt>
                <c:pt idx="3">
                  <c:v>3.1976534028164603E-2</c:v>
                </c:pt>
                <c:pt idx="4">
                  <c:v>7.4972604529626063E-2</c:v>
                </c:pt>
                <c:pt idx="5">
                  <c:v>3.1520271264673355E-2</c:v>
                </c:pt>
                <c:pt idx="6">
                  <c:v>6.7446130273164789E-2</c:v>
                </c:pt>
                <c:pt idx="7">
                  <c:v>8.43468679375280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41949999999999998</c:v>
                </c:pt>
                <c:pt idx="2">
                  <c:v>5.0999999999999997E-2</c:v>
                </c:pt>
                <c:pt idx="3">
                  <c:v>0.29149999999999998</c:v>
                </c:pt>
                <c:pt idx="4">
                  <c:v>7.1499999999999994E-2</c:v>
                </c:pt>
                <c:pt idx="5">
                  <c:v>0.15379999999999999</c:v>
                </c:pt>
                <c:pt idx="6">
                  <c:v>1.2699999999999999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1771144932042348</c:v>
                </c:pt>
                <c:pt idx="2">
                  <c:v>1.4311842446704696E-2</c:v>
                </c:pt>
                <c:pt idx="3">
                  <c:v>8.1787773351441995E-2</c:v>
                </c:pt>
                <c:pt idx="4">
                  <c:v>2.0057030872024928E-2</c:v>
                </c:pt>
                <c:pt idx="5">
                  <c:v>4.3164331101468945E-2</c:v>
                </c:pt>
                <c:pt idx="6">
                  <c:v>3.55536759177314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683568193976326</c:v>
                </c:pt>
                <c:pt idx="4">
                  <c:v>0.16125578762274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8445970042755961E-2</c:v>
                </c:pt>
                <c:pt idx="2">
                  <c:v>1.9462042950576324E-7</c:v>
                </c:pt>
                <c:pt idx="3">
                  <c:v>9.6370896715808028E-3</c:v>
                </c:pt>
                <c:pt idx="4">
                  <c:v>4.7035976852258646E-2</c:v>
                </c:pt>
                <c:pt idx="5">
                  <c:v>2.645798534916369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8731248444294529E-3</c:v>
                </c:pt>
                <c:pt idx="5">
                  <c:v>7.2319288181867212E-4</c:v>
                </c:pt>
                <c:pt idx="6">
                  <c:v>4.19550212991516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3939480335540989E-6</c:v>
                </c:pt>
                <c:pt idx="2">
                  <c:v>4.7696809688934223E-4</c:v>
                </c:pt>
                <c:pt idx="3">
                  <c:v>2.8397283114107584E-4</c:v>
                </c:pt>
                <c:pt idx="4">
                  <c:v>7.2355550791809318E-5</c:v>
                </c:pt>
                <c:pt idx="5">
                  <c:v>1.3360193458828323E-3</c:v>
                </c:pt>
                <c:pt idx="6">
                  <c:v>2.049993706690581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42320000000000002</c:v>
                </c:pt>
                <c:pt idx="2">
                  <c:v>5.2200000000000003E-2</c:v>
                </c:pt>
                <c:pt idx="3">
                  <c:v>0.28070000000000001</c:v>
                </c:pt>
                <c:pt idx="4">
                  <c:v>7.3800000000000004E-2</c:v>
                </c:pt>
                <c:pt idx="5">
                  <c:v>0.157</c:v>
                </c:pt>
                <c:pt idx="6">
                  <c:v>1.31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2447638333752499</c:v>
                </c:pt>
                <c:pt idx="2">
                  <c:v>1.5353466182841597E-2</c:v>
                </c:pt>
                <c:pt idx="3">
                  <c:v>8.2565858734893527E-2</c:v>
                </c:pt>
                <c:pt idx="4">
                  <c:v>2.1701593936910228E-2</c:v>
                </c:pt>
                <c:pt idx="5">
                  <c:v>4.6190057732142749E-2</c:v>
                </c:pt>
                <c:pt idx="6">
                  <c:v>3.850073002132423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7095884449859945</c:v>
                </c:pt>
                <c:pt idx="4">
                  <c:v>0.136571745248498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8428832057435872E-2</c:v>
                </c:pt>
                <c:pt idx="2">
                  <c:v>2.107810713106846E-7</c:v>
                </c:pt>
                <c:pt idx="3">
                  <c:v>1.0044033318787277E-2</c:v>
                </c:pt>
                <c:pt idx="4">
                  <c:v>4.8764782747607503E-2</c:v>
                </c:pt>
                <c:pt idx="5">
                  <c:v>2.82972471275070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3.1112114837361345E-3</c:v>
                </c:pt>
                <c:pt idx="5">
                  <c:v>7.8315977277627566E-4</c:v>
                </c:pt>
                <c:pt idx="6">
                  <c:v>4.47091873916614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5096969039175529E-6</c:v>
                </c:pt>
                <c:pt idx="2">
                  <c:v>5.1657216090156472E-4</c:v>
                </c:pt>
                <c:pt idx="3">
                  <c:v>3.0753859078037904E-4</c:v>
                </c:pt>
                <c:pt idx="4">
                  <c:v>2.5419836890544955E-6</c:v>
                </c:pt>
                <c:pt idx="5">
                  <c:v>1.4326555215796886E-3</c:v>
                </c:pt>
                <c:pt idx="6">
                  <c:v>2.1932065923686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56189999999999996</c:v>
                </c:pt>
                <c:pt idx="2">
                  <c:v>7.2800000000000004E-2</c:v>
                </c:pt>
                <c:pt idx="3">
                  <c:v>0.2127</c:v>
                </c:pt>
                <c:pt idx="4">
                  <c:v>9.9599999999999994E-2</c:v>
                </c:pt>
                <c:pt idx="5">
                  <c:v>4.4999999999999998E-2</c:v>
                </c:pt>
                <c:pt idx="6">
                  <c:v>8.0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3359295960166387</c:v>
                </c:pt>
                <c:pt idx="2">
                  <c:v>1.7303581171426358E-2</c:v>
                </c:pt>
                <c:pt idx="3">
                  <c:v>5.057955161711436E-2</c:v>
                </c:pt>
                <c:pt idx="4">
                  <c:v>2.3688589045592869E-2</c:v>
                </c:pt>
                <c:pt idx="5">
                  <c:v>1.069909046584803E-2</c:v>
                </c:pt>
                <c:pt idx="6">
                  <c:v>1.9059266099032213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8108439743713437</c:v>
                </c:pt>
                <c:pt idx="4">
                  <c:v>0.166386279901847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9.7905610451309282E-3</c:v>
                </c:pt>
                <c:pt idx="6">
                  <c:v>0.1439923249906555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anana Boat</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3.8765831492895926E-2</c:v>
                </c:pt>
                <c:pt idx="2">
                  <c:v>6.9312238589928882E-7</c:v>
                </c:pt>
                <c:pt idx="3">
                  <c:v>2.2659651825786852E-3</c:v>
                </c:pt>
                <c:pt idx="4">
                  <c:v>7.1398714695174434E-2</c:v>
                </c:pt>
                <c:pt idx="5">
                  <c:v>4.539494285348107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4122948228888065E-6</c:v>
                </c:pt>
                <c:pt idx="3">
                  <c:v>1.1754644770097169E-4</c:v>
                </c:pt>
                <c:pt idx="4">
                  <c:v>5.7937922513632859E-6</c:v>
                </c:pt>
                <c:pt idx="5">
                  <c:v>2.3400285677796502E-6</c:v>
                </c:pt>
                <c:pt idx="6">
                  <c:v>3.02008826256006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3E-3</c:v>
                </c:pt>
                <c:pt idx="1">
                  <c:v>0.60660000000000003</c:v>
                </c:pt>
                <c:pt idx="2">
                  <c:v>8.2799999999999999E-2</c:v>
                </c:pt>
                <c:pt idx="3">
                  <c:v>0.12479999999999999</c:v>
                </c:pt>
                <c:pt idx="4">
                  <c:v>7.8100000000000003E-2</c:v>
                </c:pt>
                <c:pt idx="5">
                  <c:v>9.8699999999999996E-2</c:v>
                </c:pt>
                <c:pt idx="6">
                  <c:v>5.7000000000000002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8510000000000002</c:v>
                </c:pt>
                <c:pt idx="3">
                  <c:v>0.38769999999999999</c:v>
                </c:pt>
                <c:pt idx="5">
                  <c:v>0.3271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1.8010494043590643E-2</c:v>
                </c:pt>
                <c:pt idx="3">
                  <c:v>2.4490178651511322E-2</c:v>
                </c:pt>
                <c:pt idx="5">
                  <c:v>2.067069740135843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3832445919390743</c:v>
                </c:pt>
                <c:pt idx="4">
                  <c:v>0.650691856720020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1.4487406332303226E-3</c:v>
                </c:pt>
                <c:pt idx="4">
                  <c:v>3.9629895385719293E-3</c:v>
                </c:pt>
                <c:pt idx="5">
                  <c:v>3.6945638081881262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6">
                  <c:v>4.40574522386477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5">
                  <c:v>1.0492005120636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7709999999999999</c:v>
                </c:pt>
                <c:pt idx="2">
                  <c:v>4.5499999999999999E-2</c:v>
                </c:pt>
                <c:pt idx="3">
                  <c:v>0.30299999999999999</c:v>
                </c:pt>
                <c:pt idx="4">
                  <c:v>6.5500000000000003E-2</c:v>
                </c:pt>
                <c:pt idx="5">
                  <c:v>0.19409999999999999</c:v>
                </c:pt>
                <c:pt idx="6">
                  <c:v>1.4800000000000001E-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888269060283164</c:v>
                </c:pt>
                <c:pt idx="2">
                  <c:v>1.5271422562944496E-2</c:v>
                </c:pt>
                <c:pt idx="3">
                  <c:v>0.52230431477226913</c:v>
                </c:pt>
                <c:pt idx="4">
                  <c:v>0.18109861842202674</c:v>
                </c:pt>
                <c:pt idx="5">
                  <c:v>8.6056189810665068E-2</c:v>
                </c:pt>
                <c:pt idx="6">
                  <c:v>3.63867638292629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0.12042348556077553</c:v>
                </c:pt>
                <c:pt idx="2">
                  <c:v>1.4525673820119482E-2</c:v>
                </c:pt>
                <c:pt idx="3">
                  <c:v>9.6751225698779753E-2</c:v>
                </c:pt>
                <c:pt idx="4">
                  <c:v>2.0929690823194982E-2</c:v>
                </c:pt>
                <c:pt idx="5">
                  <c:v>6.1984977336338926E-2</c:v>
                </c:pt>
                <c:pt idx="6">
                  <c:v>4.7212799509617756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41146213929539849</c:v>
                </c:pt>
                <c:pt idx="4">
                  <c:v>0.121114281959693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Banana Boat</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8458523631951333E-2</c:v>
                </c:pt>
                <c:pt idx="3">
                  <c:v>1.3505202369789337E-2</c:v>
                </c:pt>
                <c:pt idx="4">
                  <c:v>3.9053519491903797E-2</c:v>
                </c:pt>
                <c:pt idx="5">
                  <c:v>2.0873282030209286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5">
                  <c:v>2.0672760201669613E-3</c:v>
                </c:pt>
                <c:pt idx="6">
                  <c:v>3.03361697999910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6.8141010476516506E-7</c:v>
                </c:pt>
                <c:pt idx="2">
                  <c:v>7.4574874282501489E-4</c:v>
                </c:pt>
                <c:pt idx="3">
                  <c:v>5.8574740830153035E-4</c:v>
                </c:pt>
                <c:pt idx="4">
                  <c:v>1.1261472342111316E-6</c:v>
                </c:pt>
                <c:pt idx="5">
                  <c:v>1.1306544239499028E-3</c:v>
                </c:pt>
                <c:pt idx="6">
                  <c:v>1.329314078310140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999999999999999E-2</c:v>
                </c:pt>
                <c:pt idx="1">
                  <c:v>7.0199999999999999E-2</c:v>
                </c:pt>
                <c:pt idx="2">
                  <c:v>0.45040000000000002</c:v>
                </c:pt>
                <c:pt idx="3">
                  <c:v>0.1618</c:v>
                </c:pt>
                <c:pt idx="4">
                  <c:v>0.21379999999999999</c:v>
                </c:pt>
                <c:pt idx="5">
                  <c:v>9.0499999999999997E-2</c:v>
                </c:pt>
                <c:pt idx="6">
                  <c:v>2.2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8.8301964626816612E-4</c:v>
                </c:pt>
                <c:pt idx="1">
                  <c:v>5.6571589283753885E-3</c:v>
                </c:pt>
                <c:pt idx="2">
                  <c:v>3.6280559236526018E-2</c:v>
                </c:pt>
                <c:pt idx="3">
                  <c:v>1.3032383738995429E-2</c:v>
                </c:pt>
                <c:pt idx="4">
                  <c:v>1.7221574946029845E-2</c:v>
                </c:pt>
                <c:pt idx="5">
                  <c:v>7.2928990913613025E-3</c:v>
                </c:pt>
                <c:pt idx="6">
                  <c:v>1.7470623806265976E-4</c:v>
                </c:pt>
                <c:pt idx="7">
                  <c:v>5.5727133332166261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906378807991932E-2</c:v>
                </c:pt>
                <c:pt idx="1">
                  <c:v>6.6413669834065714E-2</c:v>
                </c:pt>
                <c:pt idx="2">
                  <c:v>8.415446374190047E-3</c:v>
                </c:pt>
                <c:pt idx="3">
                  <c:v>4.8175768084365599E-2</c:v>
                </c:pt>
                <c:pt idx="4">
                  <c:v>7.7148526008141066E-2</c:v>
                </c:pt>
                <c:pt idx="5">
                  <c:v>3.6259801619078852E-2</c:v>
                </c:pt>
                <c:pt idx="6">
                  <c:v>0.14307498727548099</c:v>
                </c:pt>
                <c:pt idx="7">
                  <c:v>8.70489472843123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299999999999999E-2</c:v>
                </c:pt>
                <c:pt idx="1">
                  <c:v>6.7699999999999996E-2</c:v>
                </c:pt>
                <c:pt idx="2">
                  <c:v>0.45</c:v>
                </c:pt>
                <c:pt idx="3">
                  <c:v>0.1653</c:v>
                </c:pt>
                <c:pt idx="4">
                  <c:v>0.2099</c:v>
                </c:pt>
                <c:pt idx="5">
                  <c:v>9.35E-2</c:v>
                </c:pt>
                <c:pt idx="6">
                  <c:v>2.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9.5780173481722355E-4</c:v>
                </c:pt>
                <c:pt idx="1">
                  <c:v>5.7265694119279864E-3</c:v>
                </c:pt>
                <c:pt idx="2">
                  <c:v>3.805666643155646E-2</c:v>
                </c:pt>
                <c:pt idx="3">
                  <c:v>1.3975922051485914E-2</c:v>
                </c:pt>
                <c:pt idx="4">
                  <c:v>1.7748702230482132E-2</c:v>
                </c:pt>
                <c:pt idx="5">
                  <c:v>7.904868694850662E-3</c:v>
                </c:pt>
                <c:pt idx="6">
                  <c:v>1.9159124228828353E-4</c:v>
                </c:pt>
                <c:pt idx="7">
                  <c:v>1.3409429183519054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723300202747833E-2</c:v>
                </c:pt>
                <c:pt idx="1">
                  <c:v>7.0480254259641009E-2</c:v>
                </c:pt>
                <c:pt idx="2">
                  <c:v>8.8784399183877045E-3</c:v>
                </c:pt>
                <c:pt idx="3">
                  <c:v>5.0148523454470399E-2</c:v>
                </c:pt>
                <c:pt idx="4">
                  <c:v>6.6872057123425976E-2</c:v>
                </c:pt>
                <c:pt idx="5">
                  <c:v>3.3864965493700931E-2</c:v>
                </c:pt>
                <c:pt idx="6">
                  <c:v>0.14024530159521836</c:v>
                </c:pt>
                <c:pt idx="7">
                  <c:v>9.324355011404351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8.8000000000000005E-3</c:v>
                </c:pt>
                <c:pt idx="1">
                  <c:v>6.6000000000000003E-2</c:v>
                </c:pt>
                <c:pt idx="2">
                  <c:v>0.43969999999999998</c:v>
                </c:pt>
                <c:pt idx="3">
                  <c:v>0.18840000000000001</c:v>
                </c:pt>
                <c:pt idx="4">
                  <c:v>0.1754</c:v>
                </c:pt>
                <c:pt idx="5">
                  <c:v>0.1213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4.2040129900582833E-4</c:v>
                </c:pt>
                <c:pt idx="1">
                  <c:v>3.1545340410906379E-3</c:v>
                </c:pt>
                <c:pt idx="2">
                  <c:v>2.1018590380633254E-2</c:v>
                </c:pt>
                <c:pt idx="3">
                  <c:v>9.0027585051827754E-3</c:v>
                </c:pt>
                <c:pt idx="4">
                  <c:v>8.3857623325928853E-3</c:v>
                </c:pt>
                <c:pt idx="5">
                  <c:v>5.7967663553207729E-3</c:v>
                </c:pt>
                <c:pt idx="6">
                  <c:v>1.841458348603946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722240119176825E-2</c:v>
                </c:pt>
                <c:pt idx="1">
                  <c:v>3.876794835953852E-2</c:v>
                </c:pt>
                <c:pt idx="2">
                  <c:v>6.8021638875866968E-3</c:v>
                </c:pt>
                <c:pt idx="3">
                  <c:v>7.8433580036861031E-2</c:v>
                </c:pt>
                <c:pt idx="4">
                  <c:v>6.4253233654384775E-2</c:v>
                </c:pt>
                <c:pt idx="5">
                  <c:v>2.3066867093595567E-2</c:v>
                </c:pt>
                <c:pt idx="6">
                  <c:v>0.15214515079844926</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3999999999999998E-3</c:v>
                </c:pt>
                <c:pt idx="2">
                  <c:v>0.56840000000000002</c:v>
                </c:pt>
                <c:pt idx="3">
                  <c:v>0.188</c:v>
                </c:pt>
                <c:pt idx="4">
                  <c:v>0.1017</c:v>
                </c:pt>
                <c:pt idx="5">
                  <c:v>0.138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6.00534562239467E-2</c:v>
                </c:pt>
                <c:pt idx="2">
                  <c:v>4.9937142870147819E-2</c:v>
                </c:pt>
                <c:pt idx="3">
                  <c:v>0.11860370139382811</c:v>
                </c:pt>
                <c:pt idx="4">
                  <c:v>0.4460427318613488</c:v>
                </c:pt>
                <c:pt idx="5">
                  <c:v>0.1356767557480783</c:v>
                </c:pt>
                <c:pt idx="6">
                  <c:v>0.17503664344260716</c:v>
                </c:pt>
                <c:pt idx="7">
                  <c:v>1.464956846004308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7887235274327285E-4</c:v>
                </c:pt>
                <c:pt idx="2">
                  <c:v>4.7049379829794867E-2</c:v>
                </c:pt>
                <c:pt idx="3">
                  <c:v>1.5563015695094539E-2</c:v>
                </c:pt>
                <c:pt idx="4">
                  <c:v>8.4153764258805778E-3</c:v>
                </c:pt>
                <c:pt idx="5">
                  <c:v>1.147508524500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21021835073468E-2</c:v>
                </c:pt>
                <c:pt idx="4">
                  <c:v>0.17153576931296008</c:v>
                </c:pt>
                <c:pt idx="6">
                  <c:v>7.8136721457805119E-2</c:v>
                </c:pt>
                <c:pt idx="7">
                  <c:v>7.1891150081825313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115332297577794E-3</c:v>
                </c:pt>
                <c:pt idx="4">
                  <c:v>0.15452687090309361</c:v>
                </c:pt>
                <c:pt idx="5">
                  <c:v>0.10667085269489104</c:v>
                </c:pt>
                <c:pt idx="6">
                  <c:v>9.0861690064555391E-3</c:v>
                </c:pt>
                <c:pt idx="7">
                  <c:v>2.499217375956737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769116843003302E-2</c:v>
                </c:pt>
                <c:pt idx="6">
                  <c:v>8.78137529783465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3005467028200126E-2</c:v>
                </c:pt>
                <c:pt idx="2">
                  <c:v>2.8877630403529508E-3</c:v>
                </c:pt>
                <c:pt idx="3">
                  <c:v>1.6708130633902325E-2</c:v>
                </c:pt>
                <c:pt idx="4">
                  <c:v>0.11156471521941451</c:v>
                </c:pt>
                <c:pt idx="5">
                  <c:v>1.7530817808183378E-2</c:v>
                </c:pt>
                <c:pt idx="7">
                  <c:v>4.961236075903819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500000000000001E-2</c:v>
                </c:pt>
                <c:pt idx="1">
                  <c:v>6.8599999999999994E-2</c:v>
                </c:pt>
                <c:pt idx="2">
                  <c:v>0.45429999999999998</c:v>
                </c:pt>
                <c:pt idx="3">
                  <c:v>0.15459999999999999</c:v>
                </c:pt>
                <c:pt idx="4">
                  <c:v>0.2261</c:v>
                </c:pt>
                <c:pt idx="5">
                  <c:v>8.0699999999999994E-2</c:v>
                </c:pt>
                <c:pt idx="6">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5.8623293807148627E-3</c:v>
                </c:pt>
                <c:pt idx="1">
                  <c:v>0.13072108808769728</c:v>
                </c:pt>
                <c:pt idx="2">
                  <c:v>7.1099060052405988E-2</c:v>
                </c:pt>
                <c:pt idx="3">
                  <c:v>0.27643960515949395</c:v>
                </c:pt>
                <c:pt idx="4">
                  <c:v>0.16529054213716712</c:v>
                </c:pt>
                <c:pt idx="5">
                  <c:v>6.2960865114717671E-2</c:v>
                </c:pt>
                <c:pt idx="6">
                  <c:v>0.18383903075172306</c:v>
                </c:pt>
                <c:pt idx="7">
                  <c:v>0.1037874793160801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3.2810969073127067E-4</c:v>
                </c:pt>
                <c:pt idx="1">
                  <c:v>6.0931649153439911E-2</c:v>
                </c:pt>
                <c:pt idx="2">
                  <c:v>8.3183192111688526E-3</c:v>
                </c:pt>
                <c:pt idx="3">
                  <c:v>1.2539000070998637E-2</c:v>
                </c:pt>
                <c:pt idx="4">
                  <c:v>7.8476884751148834E-3</c:v>
                </c:pt>
                <c:pt idx="5">
                  <c:v>9.9108820224919816E-3</c:v>
                </c:pt>
                <c:pt idx="6">
                  <c:v>5.7314367665330199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2352992246833786E-2</c:v>
                </c:pt>
                <c:pt idx="1">
                  <c:v>1.5275174518129091E-2</c:v>
                </c:pt>
                <c:pt idx="2">
                  <c:v>3.861678713877531E-2</c:v>
                </c:pt>
                <c:pt idx="3">
                  <c:v>5.1585445434957675E-2</c:v>
                </c:pt>
                <c:pt idx="4">
                  <c:v>7.6773070878793218E-2</c:v>
                </c:pt>
                <c:pt idx="5">
                  <c:v>3.1858952166059613E-2</c:v>
                </c:pt>
                <c:pt idx="6">
                  <c:v>0.13986374916085334</c:v>
                </c:pt>
                <c:pt idx="7">
                  <c:v>9.32435514549864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1.6406490200896696E-3</c:v>
                </c:pt>
                <c:pt idx="1">
                  <c:v>8.9970293947620947E-3</c:v>
                </c:pt>
                <c:pt idx="2">
                  <c:v>5.9580533412977407E-2</c:v>
                </c:pt>
                <c:pt idx="3">
                  <c:v>2.0279902063345786E-2</c:v>
                </c:pt>
                <c:pt idx="4">
                  <c:v>2.9645646396596295E-2</c:v>
                </c:pt>
                <c:pt idx="5">
                  <c:v>1.0581592925549905E-2</c:v>
                </c:pt>
                <c:pt idx="6">
                  <c:v>4.1133577300344319E-4</c:v>
                </c:pt>
                <c:pt idx="7">
                  <c:v>3.0421723422574699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6.7242960584322213E-5</c:v>
                </c:pt>
                <c:pt idx="3">
                  <c:v>0.19675795328424941</c:v>
                </c:pt>
                <c:pt idx="4">
                  <c:v>4.4173864712618527E-2</c:v>
                </c:pt>
                <c:pt idx="6">
                  <c:v>6.6859037826294848E-2</c:v>
                </c:pt>
                <c:pt idx="7">
                  <c:v>1.838608650310579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9.5232174562282737E-2</c:v>
                </c:pt>
                <c:pt idx="2">
                  <c:v>1.0340432622765534E-2</c:v>
                </c:pt>
                <c:pt idx="3">
                  <c:v>2.2813468214128472E-2</c:v>
                </c:pt>
                <c:pt idx="4">
                  <c:v>1.4473962389167008E-2</c:v>
                </c:pt>
                <c:pt idx="5">
                  <c:v>1.9754864490616E-2</c:v>
                </c:pt>
                <c:pt idx="6">
                  <c:v>1.1045014339659607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0943838380335276E-2</c:v>
                </c:pt>
                <c:pt idx="3">
                  <c:v>5.0819616748649411E-3</c:v>
                </c:pt>
                <c:pt idx="5">
                  <c:v>2.0004412670982445E-3</c:v>
                </c:pt>
                <c:pt idx="6">
                  <c:v>4.4900179708725688E-2</c:v>
                </c:pt>
                <c:pt idx="7">
                  <c:v>2.86476015247063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4.1544374000408715E-3</c:v>
                </c:pt>
                <c:pt idx="1">
                  <c:v>1.5548045750317204E-2</c:v>
                </c:pt>
                <c:pt idx="2">
                  <c:v>1.1780940166630427E-3</c:v>
                </c:pt>
                <c:pt idx="3">
                  <c:v>3.1506319922905271E-2</c:v>
                </c:pt>
                <c:pt idx="4">
                  <c:v>7.6997068638785304E-2</c:v>
                </c:pt>
                <c:pt idx="5">
                  <c:v>3.0623966431453507E-2</c:v>
                </c:pt>
                <c:pt idx="6">
                  <c:v>7.0563976009733131E-2</c:v>
                </c:pt>
                <c:pt idx="7">
                  <c:v>8.25366296183313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6300000000000007E-2</c:v>
                </c:pt>
                <c:pt idx="2">
                  <c:v>0.41460000000000002</c:v>
                </c:pt>
                <c:pt idx="3">
                  <c:v>0.17580000000000001</c:v>
                </c:pt>
                <c:pt idx="4">
                  <c:v>0.2324</c:v>
                </c:pt>
                <c:pt idx="5">
                  <c:v>9.8400000000000001E-2</c:v>
                </c:pt>
                <c:pt idx="6">
                  <c:v>2.3999999999999998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0234695694610062E-2</c:v>
                </c:pt>
                <c:pt idx="1">
                  <c:v>9.58160655331802E-2</c:v>
                </c:pt>
                <c:pt idx="2">
                  <c:v>4.0332572808938108E-2</c:v>
                </c:pt>
                <c:pt idx="3">
                  <c:v>0.18244703884368937</c:v>
                </c:pt>
                <c:pt idx="4">
                  <c:v>0.12969967090969065</c:v>
                </c:pt>
                <c:pt idx="5">
                  <c:v>5.5289665269220786E-2</c:v>
                </c:pt>
                <c:pt idx="6">
                  <c:v>0.37506082381542849</c:v>
                </c:pt>
                <c:pt idx="7">
                  <c:v>0.1111194671252423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8877181781843355E-3</c:v>
                </c:pt>
                <c:pt idx="2">
                  <c:v>3.1979161180068515E-2</c:v>
                </c:pt>
                <c:pt idx="3">
                  <c:v>1.3563522541374452E-2</c:v>
                </c:pt>
                <c:pt idx="4">
                  <c:v>1.7923211890598111E-2</c:v>
                </c:pt>
                <c:pt idx="5">
                  <c:v>7.5901234339553836E-3</c:v>
                </c:pt>
                <c:pt idx="6">
                  <c:v>1.8182644445860022E-4</c:v>
                </c:pt>
                <c:pt idx="7">
                  <c:v>5.7998309768561196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2.9238138766089158E-2</c:v>
                </c:pt>
                <c:pt idx="3">
                  <c:v>8.2831649332384197E-3</c:v>
                </c:pt>
                <c:pt idx="5">
                  <c:v>3.3001364020023129E-3</c:v>
                </c:pt>
                <c:pt idx="6">
                  <c:v>0.11006484005140543</c:v>
                </c:pt>
                <c:pt idx="7">
                  <c:v>9.3088600405441448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Nivea</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0.10904504377609679</c:v>
                </c:pt>
                <c:pt idx="4">
                  <c:v>3.4671272254529366E-2</c:v>
                </c:pt>
                <c:pt idx="6">
                  <c:v>4.2087993238292418E-2</c:v>
                </c:pt>
                <c:pt idx="7">
                  <c:v>1.225544751122336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270588131469547E-3</c:v>
                </c:pt>
                <c:pt idx="3">
                  <c:v>2.8275154569815694E-3</c:v>
                </c:pt>
                <c:pt idx="5">
                  <c:v>7.0113181684590253E-3</c:v>
                </c:pt>
                <c:pt idx="6">
                  <c:v>7.9688480447712193E-2</c:v>
                </c:pt>
                <c:pt idx="7">
                  <c:v>8.0796692269125394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0234695694610064E-2</c:v>
                </c:pt>
                <c:pt idx="1">
                  <c:v>5.8163149775759745E-2</c:v>
                </c:pt>
                <c:pt idx="2">
                  <c:v>8.3534116288695968E-3</c:v>
                </c:pt>
                <c:pt idx="3">
                  <c:v>4.8727792135998108E-2</c:v>
                </c:pt>
                <c:pt idx="4">
                  <c:v>7.7105186764563169E-2</c:v>
                </c:pt>
                <c:pt idx="5">
                  <c:v>3.7388087264804054E-2</c:v>
                </c:pt>
                <c:pt idx="6">
                  <c:v>0.14303768363355984</c:v>
                </c:pt>
                <c:pt idx="7">
                  <c:v>8.874139281980675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3899999999999993E-2</c:v>
                </c:pt>
                <c:pt idx="2">
                  <c:v>0.41249999999999998</c:v>
                </c:pt>
                <c:pt idx="3">
                  <c:v>0.18029999999999999</c:v>
                </c:pt>
                <c:pt idx="4">
                  <c:v>0.22889999999999999</c:v>
                </c:pt>
                <c:pt idx="5">
                  <c:v>0.10199999999999999</c:v>
                </c:pt>
                <c:pt idx="6">
                  <c:v>2.5000000000000001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064181797789948E-2</c:v>
                </c:pt>
                <c:pt idx="1">
                  <c:v>0.10089685436631027</c:v>
                </c:pt>
                <c:pt idx="2">
                  <c:v>4.220597803109722E-2</c:v>
                </c:pt>
                <c:pt idx="3">
                  <c:v>0.19017620271128785</c:v>
                </c:pt>
                <c:pt idx="4">
                  <c:v>0.11594202997896508</c:v>
                </c:pt>
                <c:pt idx="5">
                  <c:v>5.4052993407344894E-2</c:v>
                </c:pt>
                <c:pt idx="6">
                  <c:v>0.36677238123060291</c:v>
                </c:pt>
                <c:pt idx="7">
                  <c:v>0.118889378476601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5.9742953389195297E-3</c:v>
                </c:pt>
                <c:pt idx="2">
                  <c:v>3.335695792893343E-2</c:v>
                </c:pt>
                <c:pt idx="3">
                  <c:v>1.458050710000631E-2</c:v>
                </c:pt>
                <c:pt idx="4">
                  <c:v>1.8516237301214454E-2</c:v>
                </c:pt>
                <c:pt idx="5">
                  <c:v>8.2468257697268423E-3</c:v>
                </c:pt>
                <c:pt idx="6">
                  <c:v>1.9987929656393181E-4</c:v>
                </c:pt>
                <c:pt idx="7">
                  <c:v>1.3989508291264702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1264761884782222</c:v>
                </c:pt>
                <c:pt idx="4">
                  <c:v>3.1022042964642216E-2</c:v>
                </c:pt>
                <c:pt idx="6">
                  <c:v>4.2744398951667095E-2</c:v>
                </c:pt>
                <c:pt idx="7">
                  <c:v>1.3073870631857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0348076579077603E-2</c:v>
                </c:pt>
                <c:pt idx="3">
                  <c:v>8.8942260790463423E-3</c:v>
                </c:pt>
                <c:pt idx="5">
                  <c:v>3.4593158176081315E-3</c:v>
                </c:pt>
                <c:pt idx="6">
                  <c:v>0.10416561433505027</c:v>
                </c:pt>
                <c:pt idx="7">
                  <c:v>9.85857800422588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6993696342952414E-3</c:v>
                </c:pt>
                <c:pt idx="3">
                  <c:v>3.089203790451116E-3</c:v>
                </c:pt>
                <c:pt idx="5">
                  <c:v>7.4007207229595459E-3</c:v>
                </c:pt>
                <c:pt idx="6">
                  <c:v>7.9630567079533476E-2</c:v>
                </c:pt>
                <c:pt idx="7">
                  <c:v>7.1133516011223771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064181797789948E-2</c:v>
                </c:pt>
                <c:pt idx="1">
                  <c:v>6.1875112814017898E-2</c:v>
                </c:pt>
                <c:pt idx="2">
                  <c:v>8.8490201021637852E-3</c:v>
                </c:pt>
                <c:pt idx="3">
                  <c:v>5.0964646893961865E-2</c:v>
                </c:pt>
                <c:pt idx="4">
                  <c:v>6.6403749713108404E-2</c:v>
                </c:pt>
                <c:pt idx="5">
                  <c:v>3.4946131097050373E-2</c:v>
                </c:pt>
                <c:pt idx="6">
                  <c:v>0.14003192156778818</c:v>
                </c:pt>
                <c:pt idx="7">
                  <c:v>9.524559328145583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8600000000000003E-2</c:v>
                </c:pt>
                <c:pt idx="2">
                  <c:v>0.34289999999999998</c:v>
                </c:pt>
                <c:pt idx="3">
                  <c:v>0.22450000000000001</c:v>
                </c:pt>
                <c:pt idx="4">
                  <c:v>0.20910000000000001</c:v>
                </c:pt>
                <c:pt idx="5">
                  <c:v>0.14449999999999999</c:v>
                </c:pt>
                <c:pt idx="6">
                  <c:v>5.0000000000000001E-4</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7012310710717359E-2</c:v>
                </c:pt>
                <c:pt idx="1">
                  <c:v>8.4975090482149518E-2</c:v>
                </c:pt>
                <c:pt idx="2">
                  <c:v>2.1280657310724264E-2</c:v>
                </c:pt>
                <c:pt idx="3">
                  <c:v>0.11950391907115621</c:v>
                </c:pt>
                <c:pt idx="4">
                  <c:v>7.5123308023636662E-2</c:v>
                </c:pt>
                <c:pt idx="5">
                  <c:v>4.497889889898557E-2</c:v>
                </c:pt>
                <c:pt idx="6">
                  <c:v>0.50847659248921639</c:v>
                </c:pt>
                <c:pt idx="7">
                  <c:v>0.12864922301341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2776276506118799E-3</c:v>
                </c:pt>
                <c:pt idx="2">
                  <c:v>1.4288487828934361E-2</c:v>
                </c:pt>
                <c:pt idx="3">
                  <c:v>9.3540566765183669E-3</c:v>
                </c:pt>
                <c:pt idx="4">
                  <c:v>8.712526306472854E-3</c:v>
                </c:pt>
                <c:pt idx="5">
                  <c:v>6.0229629615178104E-3</c:v>
                </c:pt>
                <c:pt idx="6">
                  <c:v>1.9133142081255369E-5</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5169562861389664E-2</c:v>
                </c:pt>
                <c:pt idx="3">
                  <c:v>1.1699779596147705E-2</c:v>
                </c:pt>
                <c:pt idx="5">
                  <c:v>4.5309223416345199E-3</c:v>
                </c:pt>
                <c:pt idx="6">
                  <c:v>0.14901815260624077</c:v>
                </c:pt>
                <c:pt idx="7">
                  <c:v>1.523976233272786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7061069940281812E-3</c:v>
                </c:pt>
                <c:pt idx="3">
                  <c:v>4.4874471860928975E-3</c:v>
                </c:pt>
                <c:pt idx="5">
                  <c:v>1.0567501554529105E-2</c:v>
                </c:pt>
                <c:pt idx="6">
                  <c:v>0.12510467390281574</c:v>
                </c:pt>
                <c:pt idx="7">
                  <c:v>7.9039006942340244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1.422150136359107E-2</c:v>
                </c:pt>
                <c:pt idx="4">
                  <c:v>1.126614379955191E-3</c:v>
                </c:pt>
                <c:pt idx="6">
                  <c:v>8.53182973960912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012310710717363E-2</c:v>
                </c:pt>
                <c:pt idx="1">
                  <c:v>3.2821792976119805E-2</c:v>
                </c:pt>
                <c:pt idx="2">
                  <c:v>6.9921694817899043E-3</c:v>
                </c:pt>
                <c:pt idx="3">
                  <c:v>7.9741134248806175E-2</c:v>
                </c:pt>
                <c:pt idx="4">
                  <c:v>6.5284167337208598E-2</c:v>
                </c:pt>
                <c:pt idx="5">
                  <c:v>2.3857512041304135E-2</c:v>
                </c:pt>
                <c:pt idx="6">
                  <c:v>0.14901633544198736</c:v>
                </c:pt>
                <c:pt idx="7">
                  <c:v>0.1126190706112627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7E-2</c:v>
                </c:pt>
                <c:pt idx="1">
                  <c:v>0.66910000000000003</c:v>
                </c:pt>
                <c:pt idx="2">
                  <c:v>0.13370000000000001</c:v>
                </c:pt>
                <c:pt idx="3">
                  <c:v>8.7400000000000005E-2</c:v>
                </c:pt>
                <c:pt idx="4">
                  <c:v>5.2200000000000003E-2</c:v>
                </c:pt>
                <c:pt idx="5">
                  <c:v>4.2799999999999998E-2</c:v>
                </c:pt>
                <c:pt idx="6">
                  <c:v>3.0999999999999999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3999999999999998E-3</c:v>
                </c:pt>
                <c:pt idx="2">
                  <c:v>0.56840000000000002</c:v>
                </c:pt>
                <c:pt idx="3">
                  <c:v>0.188</c:v>
                </c:pt>
                <c:pt idx="4">
                  <c:v>0.1017</c:v>
                </c:pt>
                <c:pt idx="5">
                  <c:v>0.1386</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5.3399735043198109E-2</c:v>
                </c:pt>
                <c:pt idx="2">
                  <c:v>5.07730273879924E-2</c:v>
                </c:pt>
                <c:pt idx="3">
                  <c:v>0.11301493567700069</c:v>
                </c:pt>
                <c:pt idx="4">
                  <c:v>0.45200317028960213</c:v>
                </c:pt>
                <c:pt idx="5">
                  <c:v>0.13794781278183976</c:v>
                </c:pt>
                <c:pt idx="6">
                  <c:v>0.17796653514044841</c:v>
                </c:pt>
                <c:pt idx="7">
                  <c:v>1.489478367991852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2.8354032268939375E-4</c:v>
                </c:pt>
                <c:pt idx="2">
                  <c:v>4.7836926852182174E-2</c:v>
                </c:pt>
                <c:pt idx="3">
                  <c:v>1.582352086464997E-2</c:v>
                </c:pt>
                <c:pt idx="4">
                  <c:v>8.5562391677582849E-3</c:v>
                </c:pt>
                <c:pt idx="5">
                  <c:v>1.16671636368772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8.4475187887853201E-2</c:v>
                </c:pt>
                <c:pt idx="4">
                  <c:v>0.17440706081231769</c:v>
                </c:pt>
                <c:pt idx="6">
                  <c:v>7.9444631201691526E-2</c:v>
                </c:pt>
                <c:pt idx="7">
                  <c:v>7.3094516871945814E-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1.9435298747451548E-3</c:v>
                </c:pt>
                <c:pt idx="4">
                  <c:v>0.15711345498770449</c:v>
                </c:pt>
                <c:pt idx="5">
                  <c:v>0.10845638765240342</c:v>
                </c:pt>
                <c:pt idx="6">
                  <c:v>9.2382599664602959E-3</c:v>
                </c:pt>
                <c:pt idx="7">
                  <c:v>2.541051109150536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7217197951360326E-2</c:v>
                </c:pt>
                <c:pt idx="6">
                  <c:v>8.92836439722965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2.5898996769148388E-2</c:v>
                </c:pt>
                <c:pt idx="2">
                  <c:v>2.9361005358102214E-3</c:v>
                </c:pt>
                <c:pt idx="3">
                  <c:v>1.077269704975237E-2</c:v>
                </c:pt>
                <c:pt idx="4">
                  <c:v>0.11192641532182165</c:v>
                </c:pt>
                <c:pt idx="5">
                  <c:v>1.782426149255913E-2</c:v>
                </c:pt>
                <c:pt idx="7">
                  <c:v>5.044280883573404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7.1999999999999995E-2</c:v>
                </c:pt>
                <c:pt idx="2">
                  <c:v>0.44019999999999998</c:v>
                </c:pt>
                <c:pt idx="3">
                  <c:v>0.16239999999999999</c:v>
                </c:pt>
                <c:pt idx="4">
                  <c:v>0.2374</c:v>
                </c:pt>
                <c:pt idx="5">
                  <c:v>8.4699999999999998E-2</c:v>
                </c:pt>
                <c:pt idx="6">
                  <c:v>3.3E-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3.4883281441754187E-3</c:v>
                </c:pt>
                <c:pt idx="1">
                  <c:v>0.12114250160819365</c:v>
                </c:pt>
                <c:pt idx="2">
                  <c:v>6.8898138443432719E-2</c:v>
                </c:pt>
                <c:pt idx="3">
                  <c:v>0.28058797162019983</c:v>
                </c:pt>
                <c:pt idx="4">
                  <c:v>0.16757090878952116</c:v>
                </c:pt>
                <c:pt idx="5">
                  <c:v>6.5433887771111462E-2</c:v>
                </c:pt>
                <c:pt idx="6">
                  <c:v>0.18624437384912707</c:v>
                </c:pt>
                <c:pt idx="7">
                  <c:v>0.1066338897742386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9.4357163802176007E-3</c:v>
                </c:pt>
                <c:pt idx="2">
                  <c:v>5.766459814853258E-2</c:v>
                </c:pt>
                <c:pt idx="3">
                  <c:v>2.1268731677116025E-2</c:v>
                </c:pt>
                <c:pt idx="4">
                  <c:v>3.10911412014898E-2</c:v>
                </c:pt>
                <c:pt idx="5">
                  <c:v>1.1097541790241767E-2</c:v>
                </c:pt>
                <c:pt idx="6">
                  <c:v>4.3139213186939784E-4</c:v>
                </c:pt>
                <c:pt idx="7">
                  <c:v>3.1905059038703734E-9</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1982740110914645</c:v>
                </c:pt>
                <c:pt idx="4">
                  <c:v>4.6327579537551025E-2</c:v>
                </c:pt>
                <c:pt idx="6">
                  <c:v>7.0119023813619563E-2</c:v>
                </c:pt>
                <c:pt idx="7">
                  <c:v>1.9282575389433915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8.5645589527846885E-2</c:v>
                </c:pt>
                <c:pt idx="2">
                  <c:v>1.0844622730027793E-2</c:v>
                </c:pt>
                <c:pt idx="3">
                  <c:v>2.3738941310914453E-2</c:v>
                </c:pt>
                <c:pt idx="4">
                  <c:v>1.5179583520854254E-2</c:v>
                </c:pt>
                <c:pt idx="5">
                  <c:v>2.0718093748988291E-2</c:v>
                </c:pt>
                <c:pt idx="6">
                  <c:v>1.158355921179251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d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1.1477450004542769E-2</c:v>
                </c:pt>
                <c:pt idx="3">
                  <c:v>5.3297535125402555E-3</c:v>
                </c:pt>
                <c:pt idx="5">
                  <c:v>2.0979809672080417E-3</c:v>
                </c:pt>
                <c:pt idx="6">
                  <c:v>4.708947170929409E-2</c:v>
                </c:pt>
                <c:pt idx="7">
                  <c:v>3.0044432567708228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3.4883281441754192E-3</c:v>
                </c:pt>
                <c:pt idx="1">
                  <c:v>1.4583745695586389E-2</c:v>
                </c:pt>
                <c:pt idx="2">
                  <c:v>3.8891756487235236E-4</c:v>
                </c:pt>
                <c:pt idx="3">
                  <c:v>3.1976534028164603E-2</c:v>
                </c:pt>
                <c:pt idx="4">
                  <c:v>7.4972604529626063E-2</c:v>
                </c:pt>
                <c:pt idx="5">
                  <c:v>3.1520271264673355E-2</c:v>
                </c:pt>
                <c:pt idx="6">
                  <c:v>6.7446130273164789E-2</c:v>
                </c:pt>
                <c:pt idx="7">
                  <c:v>8.4346867937528033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1619999999999998</c:v>
                </c:pt>
                <c:pt idx="3">
                  <c:v>7.9299999999999995E-2</c:v>
                </c:pt>
                <c:pt idx="4">
                  <c:v>0.38690000000000002</c:v>
                </c:pt>
                <c:pt idx="5">
                  <c:v>0.217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615881331121301</c:v>
                </c:pt>
                <c:pt idx="2">
                  <c:v>1.4789005164023544E-2</c:v>
                </c:pt>
                <c:pt idx="3">
                  <c:v>0.46293878009622597</c:v>
                </c:pt>
                <c:pt idx="4">
                  <c:v>0.22842115089782389</c:v>
                </c:pt>
                <c:pt idx="5">
                  <c:v>7.1681528678334147E-2</c:v>
                </c:pt>
                <c:pt idx="6">
                  <c:v>6.6010325957830643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8445970042755961E-2</c:v>
                </c:pt>
                <c:pt idx="2">
                  <c:v>1.9462042950576324E-7</c:v>
                </c:pt>
                <c:pt idx="3">
                  <c:v>9.6370896715808028E-3</c:v>
                </c:pt>
                <c:pt idx="4">
                  <c:v>4.7035976852258646E-2</c:v>
                </c:pt>
                <c:pt idx="5">
                  <c:v>2.645798534916369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683568193976326</c:v>
                </c:pt>
                <c:pt idx="4">
                  <c:v>0.161255787622748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1771144932042348</c:v>
                </c:pt>
                <c:pt idx="2">
                  <c:v>1.4311842446704696E-2</c:v>
                </c:pt>
                <c:pt idx="3">
                  <c:v>8.1787773351441995E-2</c:v>
                </c:pt>
                <c:pt idx="4">
                  <c:v>2.0057030872024928E-2</c:v>
                </c:pt>
                <c:pt idx="5">
                  <c:v>4.3164331101468945E-2</c:v>
                </c:pt>
                <c:pt idx="6">
                  <c:v>3.5553675917731429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2.8731248444294529E-3</c:v>
                </c:pt>
                <c:pt idx="5">
                  <c:v>7.2319288181867212E-4</c:v>
                </c:pt>
                <c:pt idx="6">
                  <c:v>4.19550212991516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3939480335540989E-6</c:v>
                </c:pt>
                <c:pt idx="2">
                  <c:v>4.7696809688934223E-4</c:v>
                </c:pt>
                <c:pt idx="3">
                  <c:v>2.8397283114107584E-4</c:v>
                </c:pt>
                <c:pt idx="4">
                  <c:v>7.2355550791809318E-5</c:v>
                </c:pt>
                <c:pt idx="5">
                  <c:v>1.3360193458828323E-3</c:v>
                </c:pt>
                <c:pt idx="6">
                  <c:v>2.0499937066905814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0609999999999998</c:v>
                </c:pt>
                <c:pt idx="3">
                  <c:v>0.08</c:v>
                </c:pt>
                <c:pt idx="4">
                  <c:v>0.38850000000000001</c:v>
                </c:pt>
                <c:pt idx="5">
                  <c:v>0.2253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6290672509186477</c:v>
                </c:pt>
                <c:pt idx="2">
                  <c:v>1.5870249124814474E-2</c:v>
                </c:pt>
                <c:pt idx="3">
                  <c:v>0.46698748662679673</c:v>
                </c:pt>
                <c:pt idx="4">
                  <c:v>0.20704066391670514</c:v>
                </c:pt>
                <c:pt idx="5">
                  <c:v>7.6703120154005794E-2</c:v>
                </c:pt>
                <c:pt idx="6">
                  <c:v>7.0491326317479966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8428832057435872E-2</c:v>
                </c:pt>
                <c:pt idx="2">
                  <c:v>2.107810713106846E-7</c:v>
                </c:pt>
                <c:pt idx="3">
                  <c:v>1.0044033318787277E-2</c:v>
                </c:pt>
                <c:pt idx="4">
                  <c:v>4.8764782747607503E-2</c:v>
                </c:pt>
                <c:pt idx="5">
                  <c:v>2.829724712750708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37095884449859945</c:v>
                </c:pt>
                <c:pt idx="4">
                  <c:v>0.1365717452484983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2447638333752499</c:v>
                </c:pt>
                <c:pt idx="2">
                  <c:v>1.5353466182841597E-2</c:v>
                </c:pt>
                <c:pt idx="3">
                  <c:v>8.2565858734893527E-2</c:v>
                </c:pt>
                <c:pt idx="4">
                  <c:v>2.1701593936910228E-2</c:v>
                </c:pt>
                <c:pt idx="5">
                  <c:v>4.6190057732142749E-2</c:v>
                </c:pt>
                <c:pt idx="6">
                  <c:v>3.850073002132423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3">
                  <c:v>3.1112114837361345E-3</c:v>
                </c:pt>
                <c:pt idx="5">
                  <c:v>7.8315977277627566E-4</c:v>
                </c:pt>
                <c:pt idx="6">
                  <c:v>4.470918739166145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1.5096969039175529E-6</c:v>
                </c:pt>
                <c:pt idx="2">
                  <c:v>5.1657216090156472E-4</c:v>
                </c:pt>
                <c:pt idx="3">
                  <c:v>3.0753859078037904E-4</c:v>
                </c:pt>
                <c:pt idx="4">
                  <c:v>2.5419836890544955E-6</c:v>
                </c:pt>
                <c:pt idx="5">
                  <c:v>1.4326555215796886E-3</c:v>
                </c:pt>
                <c:pt idx="6">
                  <c:v>2.193206592368609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24560000000000001</c:v>
                </c:pt>
                <c:pt idx="3">
                  <c:v>1.44E-2</c:v>
                </c:pt>
                <c:pt idx="4">
                  <c:v>0.45240000000000002</c:v>
                </c:pt>
                <c:pt idx="5">
                  <c:v>0.28760000000000002</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7236220338938268</c:v>
                </c:pt>
                <c:pt idx="2">
                  <c:v>1.7304274293812257E-2</c:v>
                </c:pt>
                <c:pt idx="3">
                  <c:v>0.34383802172965927</c:v>
                </c:pt>
                <c:pt idx="4">
                  <c:v>0.26147937743486638</c:v>
                </c:pt>
                <c:pt idx="5">
                  <c:v>5.6096373347896876E-2</c:v>
                </c:pt>
                <c:pt idx="6">
                  <c:v>0.1489183398631188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8765831492895926E-2</c:v>
                </c:pt>
                <c:pt idx="2">
                  <c:v>6.9312238589928882E-7</c:v>
                </c:pt>
                <c:pt idx="3">
                  <c:v>2.2659651825786852E-3</c:v>
                </c:pt>
                <c:pt idx="4">
                  <c:v>7.1398714695174434E-2</c:v>
                </c:pt>
                <c:pt idx="5">
                  <c:v>4.539494285348107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8108439743713437</c:v>
                </c:pt>
                <c:pt idx="4">
                  <c:v>0.1663862799018477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Others Marca Unif.</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3">
                  <c:v>9.7905610451309282E-3</c:v>
                </c:pt>
                <c:pt idx="6">
                  <c:v>0.1439923249906555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Hawaiian Tropic</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0.13359295960166387</c:v>
                </c:pt>
                <c:pt idx="2">
                  <c:v>1.7303581171426358E-2</c:v>
                </c:pt>
                <c:pt idx="3">
                  <c:v>5.057955161711436E-2</c:v>
                </c:pt>
                <c:pt idx="4">
                  <c:v>2.3688589045592869E-2</c:v>
                </c:pt>
                <c:pt idx="5">
                  <c:v>1.069909046584803E-2</c:v>
                </c:pt>
                <c:pt idx="6">
                  <c:v>1.9059266099032213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3.4122948228888065E-6</c:v>
                </c:pt>
                <c:pt idx="3">
                  <c:v>1.1754644770097169E-4</c:v>
                </c:pt>
                <c:pt idx="4">
                  <c:v>5.7937922513632859E-6</c:v>
                </c:pt>
                <c:pt idx="5">
                  <c:v>2.3400285677796502E-6</c:v>
                </c:pt>
                <c:pt idx="6">
                  <c:v>3.0200882625600676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3.4200000000000001E-2</c:v>
                </c:pt>
                <c:pt idx="4">
                  <c:v>9.3600000000000003E-2</c:v>
                </c:pt>
                <c:pt idx="5">
                  <c:v>0.87219999999999998</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1.9459234676820966E-2</c:v>
                </c:pt>
                <c:pt idx="3">
                  <c:v>0.26281463784541875</c:v>
                </c:pt>
                <c:pt idx="4">
                  <c:v>0.65465484625859205</c:v>
                </c:pt>
                <c:pt idx="5">
                  <c:v>5.8665535995303365E-2</c:v>
                </c:pt>
                <c:pt idx="6">
                  <c:v>4.4057452238647756E-3</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1.4487406332303226E-3</c:v>
                </c:pt>
                <c:pt idx="4">
                  <c:v>3.9629895385719293E-3</c:v>
                </c:pt>
                <c:pt idx="5">
                  <c:v>3.694563808188126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23832445919390743</c:v>
                </c:pt>
                <c:pt idx="4">
                  <c:v>0.650691856720020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1.8010494043590643E-2</c:v>
                </c:pt>
                <c:pt idx="3">
                  <c:v>2.4490178651511322E-2</c:v>
                </c:pt>
                <c:pt idx="5">
                  <c:v>2.067069740135843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Others Marca Unif.</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6">
                  <c:v>4.4057452238647756E-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5">
                  <c:v>1.0492005120636655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34370000000000001</c:v>
                </c:pt>
                <c:pt idx="3">
                  <c:v>0.1207</c:v>
                </c:pt>
                <c:pt idx="4">
                  <c:v>0.34899999999999998</c:v>
                </c:pt>
                <c:pt idx="5">
                  <c:v>0.1865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1">
                  <c:v>0.15888269060283164</c:v>
                </c:pt>
                <c:pt idx="2">
                  <c:v>1.5271422562944496E-2</c:v>
                </c:pt>
                <c:pt idx="3">
                  <c:v>0.52230431477226913</c:v>
                </c:pt>
                <c:pt idx="4">
                  <c:v>0.18109861842202674</c:v>
                </c:pt>
                <c:pt idx="5">
                  <c:v>8.6056189810665068E-2</c:v>
                </c:pt>
                <c:pt idx="6">
                  <c:v>3.6386763829262939E-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Hawaiian Tropic</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0">
                  <c:v>5.8785648519070141E-4</c:v>
                </c:pt>
                <c:pt idx="1">
                  <c:v>3.3680168452992737E-2</c:v>
                </c:pt>
                <c:pt idx="2">
                  <c:v>6.7290090886708061E-3</c:v>
                </c:pt>
                <c:pt idx="3">
                  <c:v>4.4016255040906947E-3</c:v>
                </c:pt>
                <c:pt idx="4">
                  <c:v>2.6295747505043032E-3</c:v>
                </c:pt>
                <c:pt idx="5">
                  <c:v>2.1555782016911057E-3</c:v>
                </c:pt>
                <c:pt idx="6">
                  <c:v>1.5457900753741775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7554784932991951E-2</c:v>
                </c:pt>
                <c:pt idx="1">
                  <c:v>8.2423139476364201E-3</c:v>
                </c:pt>
                <c:pt idx="2">
                  <c:v>2.1091745179549145E-2</c:v>
                </c:pt>
                <c:pt idx="3">
                  <c:v>8.3034713037953109E-2</c:v>
                </c:pt>
                <c:pt idx="4">
                  <c:v>7.0009421236473357E-2</c:v>
                </c:pt>
                <c:pt idx="5">
                  <c:v>2.6708055247225235E-2</c:v>
                </c:pt>
                <c:pt idx="6">
                  <c:v>0.15200898637439786</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anana Boa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1">
                  <c:v>3.8458523631951333E-2</c:v>
                </c:pt>
                <c:pt idx="3">
                  <c:v>1.3505202369789337E-2</c:v>
                </c:pt>
                <c:pt idx="4">
                  <c:v>3.9053519491903797E-2</c:v>
                </c:pt>
                <c:pt idx="5">
                  <c:v>2.087328203020928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3">
                  <c:v>0.41146213929539849</c:v>
                </c:pt>
                <c:pt idx="4">
                  <c:v>0.121114281959693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Hawaiian Tropic</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0.12042348556077553</c:v>
                </c:pt>
                <c:pt idx="2">
                  <c:v>1.4525673820119482E-2</c:v>
                </c:pt>
                <c:pt idx="3">
                  <c:v>9.6751225698779753E-2</c:v>
                </c:pt>
                <c:pt idx="4">
                  <c:v>2.0929690823194982E-2</c:v>
                </c:pt>
                <c:pt idx="5">
                  <c:v>6.1984977336338926E-2</c:v>
                </c:pt>
                <c:pt idx="6">
                  <c:v>4.7212799509617756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eauty Care</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5">
                  <c:v>2.0672760201669613E-3</c:v>
                </c:pt>
                <c:pt idx="6">
                  <c:v>3.033616979999102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1">
                  <c:v>6.8141010476516506E-7</c:v>
                </c:pt>
                <c:pt idx="2">
                  <c:v>7.4574874282501489E-4</c:v>
                </c:pt>
                <c:pt idx="3">
                  <c:v>5.8574740830153035E-4</c:v>
                </c:pt>
                <c:pt idx="4">
                  <c:v>1.1261472342111316E-6</c:v>
                </c:pt>
                <c:pt idx="5">
                  <c:v>1.1306544239499028E-3</c:v>
                </c:pt>
                <c:pt idx="6">
                  <c:v>1.3293140783101408E-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00000000000002E-2</c:v>
                </c:pt>
                <c:pt idx="6">
                  <c:v>0.9374000000000000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1816518144759626E-2</c:v>
                </c:pt>
                <c:pt idx="1">
                  <c:v>0.10259212167398467</c:v>
                </c:pt>
                <c:pt idx="2">
                  <c:v>4.4696005610716065E-2</c:v>
                </c:pt>
                <c:pt idx="3">
                  <c:v>0.18031366781779937</c:v>
                </c:pt>
                <c:pt idx="4">
                  <c:v>0.12770096230532801</c:v>
                </c:pt>
                <c:pt idx="5">
                  <c:v>5.34603653646291E-2</c:v>
                </c:pt>
                <c:pt idx="6">
                  <c:v>0.37077158934650167</c:v>
                </c:pt>
                <c:pt idx="7">
                  <c:v>0.1086487697362815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4.8532906895585761E-6</c:v>
                </c:pt>
                <c:pt idx="5">
                  <c:v>1.9640458253570862E-4</c:v>
                </c:pt>
                <c:pt idx="6">
                  <c:v>3.0136401797186529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711969049952712E-5</c:v>
                </c:pt>
                <c:pt idx="3">
                  <c:v>0.10834912506995814</c:v>
                </c:pt>
                <c:pt idx="4">
                  <c:v>3.33308613511571E-2</c:v>
                </c:pt>
                <c:pt idx="6">
                  <c:v>4.0439854544606302E-2</c:v>
                </c:pt>
                <c:pt idx="7">
                  <c:v>1.177553208410081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809319209308141E-2</c:v>
                </c:pt>
                <c:pt idx="3">
                  <c:v>7.958801532128728E-3</c:v>
                </c:pt>
                <c:pt idx="5">
                  <c:v>3.1709051871095699E-3</c:v>
                </c:pt>
                <c:pt idx="6">
                  <c:v>0.10575477184083436</c:v>
                </c:pt>
                <c:pt idx="7">
                  <c:v>8.9443310799908384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4281008184621746E-3</c:v>
                </c:pt>
                <c:pt idx="3">
                  <c:v>2.7975893923514921E-3</c:v>
                </c:pt>
                <c:pt idx="5">
                  <c:v>6.736759467079358E-3</c:v>
                </c:pt>
                <c:pt idx="6">
                  <c:v>8.1327269447517322E-2</c:v>
                </c:pt>
                <c:pt idx="7">
                  <c:v>8.7438657454426947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1789398454260098E-2</c:v>
                </c:pt>
                <c:pt idx="1">
                  <c:v>7.20708287624411E-2</c:v>
                </c:pt>
                <c:pt idx="2">
                  <c:v>4.4696005610716065E-2</c:v>
                </c:pt>
                <c:pt idx="3">
                  <c:v>6.1203298532671473E-2</c:v>
                </c:pt>
                <c:pt idx="4">
                  <c:v>9.4370100954170907E-2</c:v>
                </c:pt>
                <c:pt idx="5">
                  <c:v>4.3356296127904446E-2</c:v>
                </c:pt>
                <c:pt idx="6">
                  <c:v>0.14023605333382499</c:v>
                </c:pt>
                <c:pt idx="7">
                  <c:v>8.705451999764560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1.5E-3</c:v>
                </c:pt>
                <c:pt idx="5">
                  <c:v>6.1199999999999997E-2</c:v>
                </c:pt>
                <c:pt idx="6">
                  <c:v>0.93720000000000003</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2710823132784576E-2</c:v>
                </c:pt>
                <c:pt idx="1">
                  <c:v>0.10788394773254027</c:v>
                </c:pt>
                <c:pt idx="2">
                  <c:v>4.6935106349944168E-2</c:v>
                </c:pt>
                <c:pt idx="3">
                  <c:v>0.18721915904999425</c:v>
                </c:pt>
                <c:pt idx="4">
                  <c:v>0.11435667812667059</c:v>
                </c:pt>
                <c:pt idx="5">
                  <c:v>5.2179556095082333E-2</c:v>
                </c:pt>
                <c:pt idx="6">
                  <c:v>0.36270526334207537</c:v>
                </c:pt>
                <c:pt idx="7">
                  <c:v>0.1160094661709084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5.321397877187701E-6</c:v>
                </c:pt>
                <c:pt idx="5">
                  <c:v>2.1327321652369916E-4</c:v>
                </c:pt>
                <c:pt idx="6">
                  <c:v>3.2649315722433907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Nivea</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0">
                  <c:v>2.9721195219518972E-5</c:v>
                </c:pt>
                <c:pt idx="3">
                  <c:v>0.11151958485188213</c:v>
                </c:pt>
                <c:pt idx="4">
                  <c:v>2.9735918772762476E-2</c:v>
                </c:pt>
                <c:pt idx="6">
                  <c:v>4.09719897798244E-2</c:v>
                </c:pt>
                <c:pt idx="7">
                  <c:v>1.253175871105095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din</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2.9089684588647149E-2</c:v>
                </c:pt>
                <c:pt idx="3">
                  <c:v>8.5254243584567159E-3</c:v>
                </c:pt>
                <c:pt idx="5">
                  <c:v>3.3158742619001634E-3</c:v>
                </c:pt>
                <c:pt idx="6">
                  <c:v>9.9846356262271313E-2</c:v>
                </c:pt>
                <c:pt idx="7">
                  <c:v>9.4497891452276668E-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Roche-Posay</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2.5874394723241147E-3</c:v>
                </c:pt>
                <c:pt idx="3">
                  <c:v>3.0497043336990691E-3</c:v>
                </c:pt>
                <c:pt idx="5">
                  <c:v>7.0938476446305724E-3</c:v>
                </c:pt>
                <c:pt idx="6">
                  <c:v>8.1450024462473014E-2</c:v>
                </c:pt>
                <c:pt idx="7">
                  <c:v>7.8436685964342479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2681101937565057E-2</c:v>
                </c:pt>
                <c:pt idx="1">
                  <c:v>7.6206823671569002E-2</c:v>
                </c:pt>
                <c:pt idx="2">
                  <c:v>4.6935106349944168E-2</c:v>
                </c:pt>
                <c:pt idx="3">
                  <c:v>6.4119124108079129E-2</c:v>
                </c:pt>
                <c:pt idx="4">
                  <c:v>8.4620759353908101E-2</c:v>
                </c:pt>
                <c:pt idx="5">
                  <c:v>4.1556560972027895E-2</c:v>
                </c:pt>
                <c:pt idx="6">
                  <c:v>0.13717196126526324</c:v>
                </c:pt>
                <c:pt idx="7">
                  <c:v>9.324355145498644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3">
                  <c:v>3.7400000000000003E-2</c:v>
                </c:pt>
                <c:pt idx="5">
                  <c:v>6.9999999999999999E-4</c:v>
                </c:pt>
                <c:pt idx="6">
                  <c:v>0.96179999999999999</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BCBBB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9</c:f>
              <c:numCache>
                <c:formatCode>General</c:formatCode>
                <c:ptCount val="8"/>
                <c:pt idx="0">
                  <c:v>1.8142641418182653E-2</c:v>
                </c:pt>
                <c:pt idx="1">
                  <c:v>8.9772065529072256E-2</c:v>
                </c:pt>
                <c:pt idx="2">
                  <c:v>2.7820754268219949E-2</c:v>
                </c:pt>
                <c:pt idx="3">
                  <c:v>0.11681726774748077</c:v>
                </c:pt>
                <c:pt idx="4">
                  <c:v>7.3723299572251419E-2</c:v>
                </c:pt>
                <c:pt idx="5">
                  <c:v>4.3499322041014511E-2</c:v>
                </c:pt>
                <c:pt idx="6">
                  <c:v>0.50440186766215767</c:v>
                </c:pt>
                <c:pt idx="7">
                  <c:v>0.1258227817616207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eauty Care</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B$2:$B$9</c:f>
              <c:numCache>
                <c:formatCode>General</c:formatCode>
                <c:ptCount val="8"/>
                <c:pt idx="3">
                  <c:v>9.5335324722119441E-6</c:v>
                </c:pt>
                <c:pt idx="5">
                  <c:v>1.8978658031063995E-7</c:v>
                </c:pt>
                <c:pt idx="6">
                  <c:v>2.4494240432775362E-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Isdin</c:v>
                </c:pt>
              </c:strCache>
            </c:strRef>
          </c:tx>
          <c:spPr>
            <a:solidFill>
              <a:srgbClr val="BCBBB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C$2:$C$9</c:f>
              <c:numCache>
                <c:formatCode>General</c:formatCode>
                <c:ptCount val="8"/>
                <c:pt idx="1">
                  <c:v>4.3473188188669555E-2</c:v>
                </c:pt>
                <c:pt idx="3">
                  <c:v>1.1260386152287799E-2</c:v>
                </c:pt>
                <c:pt idx="5">
                  <c:v>4.3607603693347945E-3</c:v>
                </c:pt>
                <c:pt idx="6">
                  <c:v>0.14342167117398744</c:v>
                </c:pt>
                <c:pt idx="7">
                  <c:v>1.4667422349743173E-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Roche-Posay</c:v>
                </c:pt>
              </c:strCache>
            </c:strRef>
          </c:tx>
          <c:spPr>
            <a:solidFill>
              <a:srgbClr val="BCBBB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D$2:$D$9</c:f>
              <c:numCache>
                <c:formatCode>General</c:formatCode>
                <c:ptCount val="8"/>
                <c:pt idx="1">
                  <c:v>3.5669215416838048E-3</c:v>
                </c:pt>
                <c:pt idx="3">
                  <c:v>4.4331401663417203E-3</c:v>
                </c:pt>
                <c:pt idx="5">
                  <c:v>1.0170631608144106E-2</c:v>
                </c:pt>
                <c:pt idx="6">
                  <c:v>0.12659119447270598</c:v>
                </c:pt>
                <c:pt idx="7">
                  <c:v>9.1127251740659573E-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ucerin</c:v>
                </c:pt>
              </c:strCache>
            </c:strRef>
          </c:tx>
          <c:spPr>
            <a:solidFill>
              <a:srgbClr val="BCBBB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E$2:$E$9</c:f>
              <c:numCache>
                <c:formatCode>General</c:formatCode>
                <c:ptCount val="8"/>
                <c:pt idx="1">
                  <c:v>8.0947339808974455E-4</c:v>
                </c:pt>
                <c:pt idx="3">
                  <c:v>1.3687402886807445E-2</c:v>
                </c:pt>
                <c:pt idx="4">
                  <c:v>1.0843035852737598E-3</c:v>
                </c:pt>
                <c:pt idx="5">
                  <c:v>1.0429661461926816E-4</c:v>
                </c:pt>
                <c:pt idx="6">
                  <c:v>8.2225436633529006E-2</c:v>
                </c:pt>
                <c:pt idx="7">
                  <c:v>5.7153147597749983E-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BCBBB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270+ ML</c:v>
                </c:pt>
                <c:pt idx="1">
                  <c:v>240-269 ML</c:v>
                </c:pt>
                <c:pt idx="2">
                  <c:v>210-239 ML</c:v>
                </c:pt>
                <c:pt idx="3">
                  <c:v>180-209 ML</c:v>
                </c:pt>
                <c:pt idx="4">
                  <c:v>120-179 ML</c:v>
                </c:pt>
                <c:pt idx="5">
                  <c:v>60-119 ML</c:v>
                </c:pt>
                <c:pt idx="6">
                  <c:v>50-59 ML</c:v>
                </c:pt>
                <c:pt idx="7">
                  <c:v>0-49 ML</c:v>
                </c:pt>
              </c:strCache>
            </c:strRef>
          </c:cat>
          <c:val>
            <c:numRef>
              <c:f>Sheet1!$F$2:$F$9</c:f>
              <c:numCache>
                <c:formatCode>General</c:formatCode>
                <c:ptCount val="8"/>
                <c:pt idx="0">
                  <c:v>1.8142641418182653E-2</c:v>
                </c:pt>
                <c:pt idx="1">
                  <c:v>4.1922482400629159E-2</c:v>
                </c:pt>
                <c:pt idx="2">
                  <c:v>2.7820754268219949E-2</c:v>
                </c:pt>
                <c:pt idx="3">
                  <c:v>8.742680500957159E-2</c:v>
                </c:pt>
                <c:pt idx="4">
                  <c:v>7.263899598697765E-2</c:v>
                </c:pt>
                <c:pt idx="5">
                  <c:v>2.8863443662336029E-2</c:v>
                </c:pt>
                <c:pt idx="6">
                  <c:v>0.15191862297760753</c:v>
                </c:pt>
                <c:pt idx="7">
                  <c:v>0.1096725554184934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3/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7/3/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7/3/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7/3/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7/3/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7/3/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7/3/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7/3/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7/3/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7/3/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7/3/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7/3/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089432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171165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227704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055637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718229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521616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180794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906485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995583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194577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761848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585277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759606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269054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361358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119359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104759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4670252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872485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5429855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796808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Large</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676565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885942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anana Boa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872186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6080917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1992066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0925915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9535181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3360700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118071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405462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7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3173644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478030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0063545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809450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2271297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8388399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8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3997568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757269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Cosmetics Liquido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eauty Care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310702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 Care | Autos Scanning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695862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NAT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4156965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Moderno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6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3811080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onvenience + Farmacias Cad + Hard Discounters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2871118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April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Size Bracket | Sunscreen | Canal Tradicional | P12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Size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1553110553"/>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Sales IYA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Hawaiian Tropic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3017">
                <a:tc>
                  <a:txBody>
                    <a:bodyPr/>
                    <a:lstStyle/>
                    <a:p>
                      <a:pPr algn="ctr">
                        <a:defRPr sz="800">
                          <a:latin typeface="Nexa Bold"/>
                        </a:defRPr>
                      </a:pPr>
                      <a:r>
                        <a:t>270+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53757983"/>
                  </a:ext>
                </a:extLst>
              </a:tr>
              <a:tr h="403017">
                <a:tc>
                  <a:txBody>
                    <a:bodyPr/>
                    <a:lstStyle/>
                    <a:p>
                      <a:pPr algn="ctr">
                        <a:defRPr sz="800">
                          <a:latin typeface="Nexa Bold"/>
                        </a:defRPr>
                      </a:pPr>
                      <a:r>
                        <a:t>240-26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33999624"/>
                  </a:ext>
                </a:extLst>
              </a:tr>
              <a:tr h="403017">
                <a:tc>
                  <a:txBody>
                    <a:bodyPr/>
                    <a:lstStyle/>
                    <a:p>
                      <a:pPr algn="ctr">
                        <a:defRPr sz="800">
                          <a:latin typeface="Nexa Bold"/>
                        </a:defRPr>
                      </a:pPr>
                      <a:r>
                        <a:t>210-23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7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2471507"/>
                  </a:ext>
                </a:extLst>
              </a:tr>
              <a:tr h="403017">
                <a:tc>
                  <a:txBody>
                    <a:bodyPr/>
                    <a:lstStyle/>
                    <a:p>
                      <a:pPr algn="ctr">
                        <a:defRPr sz="800">
                          <a:latin typeface="Nexa Bold"/>
                        </a:defRPr>
                      </a:pPr>
                      <a:r>
                        <a:t>180-20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051049615"/>
                  </a:ext>
                </a:extLst>
              </a:tr>
              <a:tr h="403017">
                <a:tc>
                  <a:txBody>
                    <a:bodyPr/>
                    <a:lstStyle/>
                    <a:p>
                      <a:pPr algn="ctr">
                        <a:defRPr sz="800">
                          <a:latin typeface="Nexa Bold"/>
                        </a:defRPr>
                      </a:pPr>
                      <a:r>
                        <a:t>120-17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403017">
                <a:tc>
                  <a:txBody>
                    <a:bodyPr/>
                    <a:lstStyle/>
                    <a:p>
                      <a:pPr algn="ctr">
                        <a:defRPr sz="800">
                          <a:latin typeface="Nexa Bold"/>
                        </a:defRPr>
                      </a:pPr>
                      <a:r>
                        <a:t>60-11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403017">
                <a:tc>
                  <a:txBody>
                    <a:bodyPr/>
                    <a:lstStyle/>
                    <a:p>
                      <a:pPr algn="ctr">
                        <a:defRPr sz="800">
                          <a:latin typeface="Nexa Bold"/>
                        </a:defRPr>
                      </a:pPr>
                      <a:r>
                        <a:t>50-5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403017">
                <a:tc>
                  <a:txBody>
                    <a:bodyPr/>
                    <a:lstStyle/>
                    <a:p>
                      <a:pPr algn="ctr">
                        <a:defRPr sz="800">
                          <a:latin typeface="Nexa Bold"/>
                        </a:defRPr>
                      </a:pPr>
                      <a:r>
                        <a:t>0-49 ML</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3398490598"/>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312453494"/>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3082702816"/>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7/3/2025</a:t>
            </a:fld>
            <a:endParaRPr lang="en-US" sz="500"/>
          </a:p>
        </p:txBody>
      </p:sp>
    </p:spTree>
    <p:extLst>
      <p:ext uri="{BB962C8B-B14F-4D97-AF65-F5344CB8AC3E}">
        <p14:creationId xmlns:p14="http://schemas.microsoft.com/office/powerpoint/2010/main" val="1278534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4288</Words>
  <Application>Microsoft Office PowerPoint</Application>
  <PresentationFormat>On-screen Show (16:9)</PresentationFormat>
  <Paragraphs>1429</Paragraphs>
  <Slides>4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lpstr>Brand Share Topline By Pack Size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Raphaella ASHRAF</cp:lastModifiedBy>
  <cp:revision>65</cp:revision>
  <dcterms:created xsi:type="dcterms:W3CDTF">2024-07-05T11:30:58Z</dcterms:created>
  <dcterms:modified xsi:type="dcterms:W3CDTF">2025-07-03T09:2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